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4.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5.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6.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7.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8.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9.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7" r:id="rId5"/>
    <p:sldMasterId id="2147483734" r:id="rId6"/>
    <p:sldMasterId id="2147483934" r:id="rId7"/>
    <p:sldMasterId id="2147484072" r:id="rId8"/>
    <p:sldMasterId id="2147484262" r:id="rId9"/>
    <p:sldMasterId id="2147484243" r:id="rId10"/>
    <p:sldMasterId id="2147484217" r:id="rId11"/>
    <p:sldMasterId id="2147493622" r:id="rId12"/>
    <p:sldMasterId id="2147493653" r:id="rId13"/>
  </p:sldMasterIdLst>
  <p:notesMasterIdLst>
    <p:notesMasterId r:id="rId29"/>
  </p:notesMasterIdLst>
  <p:sldIdLst>
    <p:sldId id="256" r:id="rId14"/>
    <p:sldId id="2076138047" r:id="rId15"/>
    <p:sldId id="2076138051" r:id="rId16"/>
    <p:sldId id="2076138063" r:id="rId17"/>
    <p:sldId id="2076138045" r:id="rId18"/>
    <p:sldId id="2076138061" r:id="rId19"/>
    <p:sldId id="2076138055" r:id="rId20"/>
    <p:sldId id="2076138056" r:id="rId21"/>
    <p:sldId id="2076138054" r:id="rId22"/>
    <p:sldId id="2076138062" r:id="rId23"/>
    <p:sldId id="2076138060" r:id="rId24"/>
    <p:sldId id="2076138049" r:id="rId25"/>
    <p:sldId id="2076138053" r:id="rId26"/>
    <p:sldId id="2076138052" r:id="rId27"/>
    <p:sldId id="2076138044" r:id="rId28"/>
  </p:sldIdLst>
  <p:sldSz cx="12192000" cy="6858000"/>
  <p:notesSz cx="6858000" cy="1895475"/>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5BB8EF-76F5-4FF6-0C9F-71AF8F459CA5}" name="Michael Yen-Chi Ho" initials="MYH" userId="S::yenchiho@microsoft.com::08e6847b-dae5-4579-ab99-d38df5b1fcb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90A8"/>
    <a:srgbClr val="00BEDE"/>
    <a:srgbClr val="FFFFFF"/>
    <a:srgbClr val="9BF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8249E0-BD09-438C-80C7-1F569293496D}" v="415" dt="2021-10-11T21:03:03.7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74" autoAdjust="0"/>
    <p:restoredTop sz="86442" autoAdjust="0"/>
  </p:normalViewPr>
  <p:slideViewPr>
    <p:cSldViewPr snapToGrid="0">
      <p:cViewPr>
        <p:scale>
          <a:sx n="80" d="100"/>
          <a:sy n="80" d="100"/>
        </p:scale>
        <p:origin x="80" y="120"/>
      </p:cViewPr>
      <p:guideLst/>
    </p:cSldViewPr>
  </p:slideViewPr>
  <p:outlineViewPr>
    <p:cViewPr>
      <p:scale>
        <a:sx n="33" d="100"/>
        <a:sy n="33" d="100"/>
      </p:scale>
      <p:origin x="0" y="-218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slide" Target="slides/slide8.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Master" Target="slideMasters/slideMaster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26BC80-5470-4D76-9499-0A6747F9481B}" type="datetimeFigureOut">
              <a:rPr lang="en-US" smtClean="0"/>
              <a:t>11/23/2021</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573EFA-B2BF-4E6C-BB80-565FE261562F}" type="slidenum">
              <a:rPr lang="en-US" smtClean="0"/>
              <a:t>‹#›</a:t>
            </a:fld>
            <a:endParaRPr lang="en-US"/>
          </a:p>
        </p:txBody>
      </p:sp>
    </p:spTree>
    <p:extLst>
      <p:ext uri="{BB962C8B-B14F-4D97-AF65-F5344CB8AC3E}">
        <p14:creationId xmlns:p14="http://schemas.microsoft.com/office/powerpoint/2010/main" val="22313616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microsoft.com/en-us/sam/use-cases.aspx"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overview/linux-on-azur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342900" lvl="1" indent="-342900"/>
            <a:endParaRPr lang="en-US" altLang="zh-TW">
              <a:ea typeface="新細明體"/>
              <a:cs typeface="Calibri"/>
            </a:endParaRPr>
          </a:p>
        </p:txBody>
      </p:sp>
      <p:sp>
        <p:nvSpPr>
          <p:cNvPr id="4" name="投影片編號版面配置區 3"/>
          <p:cNvSpPr>
            <a:spLocks noGrp="1"/>
          </p:cNvSpPr>
          <p:nvPr>
            <p:ph type="sldNum" sz="quarter" idx="5"/>
          </p:nvPr>
        </p:nvSpPr>
        <p:spPr/>
        <p:txBody>
          <a:bodyPr/>
          <a:lstStyle/>
          <a:p>
            <a:fld id="{46573EFA-B2BF-4E6C-BB80-565FE261562F}" type="slidenum">
              <a:rPr lang="en-US" smtClean="0"/>
              <a:t>2</a:t>
            </a:fld>
            <a:endParaRPr lang="en-US"/>
          </a:p>
        </p:txBody>
      </p:sp>
    </p:spTree>
    <p:extLst>
      <p:ext uri="{BB962C8B-B14F-4D97-AF65-F5344CB8AC3E}">
        <p14:creationId xmlns:p14="http://schemas.microsoft.com/office/powerpoint/2010/main" val="570093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a:t>Joining AMP / Azure Advanced Specialization Partner Program / Azure Support</a:t>
            </a:r>
          </a:p>
          <a:p>
            <a:pPr marL="342900" lvl="1" indent="-342900"/>
            <a:endParaRPr lang="en-US" altLang="zh-TW">
              <a:ea typeface="新細明體"/>
            </a:endParaRPr>
          </a:p>
          <a:p>
            <a:pPr marL="342900" lvl="1" indent="-342900"/>
            <a:r>
              <a:rPr lang="en-US" altLang="zh-TW">
                <a:ea typeface="新細明體"/>
              </a:rPr>
              <a:t>(From presentation) </a:t>
            </a:r>
            <a:r>
              <a:rPr lang="en-US" altLang="zh-TW" b="1">
                <a:ea typeface="新細明體"/>
              </a:rPr>
              <a:t>The Azure Migration Program </a:t>
            </a:r>
            <a:r>
              <a:rPr lang="en-US" altLang="zh-TW">
                <a:ea typeface="新細明體"/>
              </a:rPr>
              <a:t>gives you prescriptive guidance for a step by step approach to cloud migration. AMP offers the opportunity to work closely with Microsoft experts and specialized migration partners to simplify and accelerate your migration.  </a:t>
            </a:r>
            <a:endParaRPr lang="en-US">
              <a:cs typeface="Calibri"/>
            </a:endParaRPr>
          </a:p>
          <a:p>
            <a:pPr marL="342900" lvl="1" indent="-342900"/>
            <a:r>
              <a:rPr lang="en-US" altLang="zh-TW">
                <a:ea typeface="新細明體"/>
              </a:rPr>
              <a:t>CTAs</a:t>
            </a:r>
            <a:endParaRPr lang="en-US" altLang="zh-TW">
              <a:ea typeface="新細明體"/>
              <a:cs typeface="Calibri"/>
            </a:endParaRPr>
          </a:p>
          <a:p>
            <a:pPr marL="342900" lvl="2" indent="-342900"/>
            <a:r>
              <a:rPr lang="en-US" altLang="zh-TW">
                <a:ea typeface="新細明體"/>
              </a:rPr>
              <a:t>Learn more and find resources: Azure.com/migration</a:t>
            </a:r>
            <a:endParaRPr lang="en-US" altLang="zh-TW">
              <a:ea typeface="新細明體"/>
              <a:cs typeface="Calibri"/>
            </a:endParaRPr>
          </a:p>
          <a:p>
            <a:pPr marL="342900" lvl="2" indent="-342900"/>
            <a:r>
              <a:rPr lang="en-US" altLang="zh-TW">
                <a:ea typeface="新細明體"/>
              </a:rPr>
              <a:t>Nominate your customers to Azure Migration Program, it is now supporting Windows and Linux Migration Scenarios</a:t>
            </a:r>
            <a:endParaRPr lang="en-US" altLang="zh-TW">
              <a:ea typeface="新細明體"/>
              <a:cs typeface="Calibri"/>
            </a:endParaRPr>
          </a:p>
          <a:p>
            <a:pPr marL="342900" lvl="3" indent="-342900"/>
            <a:r>
              <a:rPr lang="en-US" altLang="zh-TW">
                <a:ea typeface="新細明體"/>
              </a:rPr>
              <a:t>Sign up at Azure.com/AMP</a:t>
            </a:r>
            <a:endParaRPr lang="en-US" altLang="zh-TW">
              <a:ea typeface="新細明體"/>
              <a:cs typeface="Calibri"/>
            </a:endParaRPr>
          </a:p>
          <a:p>
            <a:pPr marL="342900" lvl="2" indent="-342900"/>
            <a:r>
              <a:rPr lang="en-US" altLang="zh-TW">
                <a:ea typeface="新細明體"/>
              </a:rPr>
              <a:t>Nominate yourself as a partner to Azure Migration Program, and Join Advanced Specialization Partner program to be eligible of collecting the migration support from Microsoft for your customers.</a:t>
            </a:r>
            <a:endParaRPr lang="en-US" altLang="zh-TW">
              <a:ea typeface="新細明體"/>
              <a:cs typeface="Calibri"/>
            </a:endParaRPr>
          </a:p>
          <a:p>
            <a:pPr marL="342900" lvl="2" indent="-342900"/>
            <a:r>
              <a:rPr lang="en-US" altLang="zh-TW">
                <a:ea typeface="新細明體"/>
              </a:rPr>
              <a:t>Getting Azure Support plans for your customers so they can enjoy the industry unique integrated support with Red Hat / SUSE / SAP and for their tech stack running on Azure</a:t>
            </a:r>
            <a:endParaRPr lang="en-US" altLang="zh-TW">
              <a:ea typeface="新細明體"/>
              <a:cs typeface="Calibri"/>
            </a:endParaRPr>
          </a:p>
          <a:p>
            <a:endParaRPr lang="en-US" altLang="zh-TW">
              <a:cs typeface="Calibri"/>
            </a:endParaRPr>
          </a:p>
        </p:txBody>
      </p:sp>
      <p:sp>
        <p:nvSpPr>
          <p:cNvPr id="4" name="投影片編號版面配置區 3"/>
          <p:cNvSpPr>
            <a:spLocks noGrp="1"/>
          </p:cNvSpPr>
          <p:nvPr>
            <p:ph type="sldNum" sz="quarter" idx="5"/>
          </p:nvPr>
        </p:nvSpPr>
        <p:spPr/>
        <p:txBody>
          <a:bodyPr/>
          <a:lstStyle/>
          <a:p>
            <a:fld id="{46573EFA-B2BF-4E6C-BB80-565FE261562F}" type="slidenum">
              <a:rPr lang="en-US" smtClean="0"/>
              <a:t>12</a:t>
            </a:fld>
            <a:endParaRPr lang="en-US"/>
          </a:p>
        </p:txBody>
      </p:sp>
    </p:spTree>
    <p:extLst>
      <p:ext uri="{BB962C8B-B14F-4D97-AF65-F5344CB8AC3E}">
        <p14:creationId xmlns:p14="http://schemas.microsoft.com/office/powerpoint/2010/main" val="33253193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The Azure Migration Program </a:t>
            </a:r>
            <a:r>
              <a:rPr lang="en-US" sz="900" kern="1200">
                <a:solidFill>
                  <a:schemeClr val="tx1"/>
                </a:solidFill>
                <a:effectLst/>
                <a:latin typeface="Segoe UI Light" pitchFamily="34" charset="0"/>
                <a:ea typeface="+mn-ea"/>
                <a:cs typeface="+mn-cs"/>
              </a:rPr>
              <a:t>gives you prescriptive guidance for a step by step approach to cloud migration. AMP offers the opportunity to work closely with Microsoft experts and specialized migration partners to simplify and accelerate your migration.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e program delivers: </a:t>
            </a:r>
          </a:p>
          <a:p>
            <a:pPr marL="171450" indent="-171450">
              <a:buFont typeface="Arial" panose="020B0604020202020204" pitchFamily="34" charset="0"/>
              <a:buChar char="•"/>
            </a:pPr>
            <a:endParaRPr lang="en-US" sz="900" kern="1200">
              <a:solidFill>
                <a:schemeClr val="tx1"/>
              </a:solidFill>
              <a:effectLst/>
              <a:latin typeface="Segoe UI Light" pitchFamily="34" charset="0"/>
              <a:ea typeface="+mn-ea"/>
              <a:cs typeface="+mn-cs"/>
            </a:endParaRPr>
          </a:p>
          <a:p>
            <a:pPr marL="171450" indent="-171450" fontAlgn="base">
              <a:buFont typeface="Arial" panose="020B0604020202020204" pitchFamily="34" charset="0"/>
              <a:buChar char="•"/>
            </a:pPr>
            <a:r>
              <a:rPr lang="en-US" sz="900" kern="1200">
                <a:solidFill>
                  <a:schemeClr val="tx1"/>
                </a:solidFill>
                <a:effectLst/>
                <a:latin typeface="Segoe UI Light" pitchFamily="34" charset="0"/>
                <a:ea typeface="+mn-ea"/>
                <a:cs typeface="+mn-cs"/>
              </a:rPr>
              <a:t>Best practices for a step by step approach from start to finish</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Technical skill building</a:t>
            </a:r>
            <a:r>
              <a:rPr lang="en-US" sz="900" kern="1200">
                <a:solidFill>
                  <a:schemeClr val="tx1"/>
                </a:solidFill>
                <a:effectLst/>
                <a:latin typeface="Segoe UI Light" pitchFamily="34" charset="0"/>
                <a:ea typeface="+mn-ea"/>
                <a:cs typeface="+mn-cs"/>
              </a:rPr>
              <a:t> to ensure your organization can successfully adopt Azure</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FastTrack for Azure engineering assistance for data and infrastructure foundations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Expert guidance from specialized migration partners</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Free Azure tools like Azure Migrate </a:t>
            </a:r>
            <a:r>
              <a:rPr lang="en-US" sz="900" kern="1200">
                <a:solidFill>
                  <a:schemeClr val="tx1"/>
                </a:solidFill>
                <a:effectLst/>
                <a:latin typeface="Segoe UI Light" pitchFamily="34" charset="0"/>
                <a:ea typeface="+mn-ea"/>
                <a:cs typeface="+mn-cs"/>
              </a:rPr>
              <a:t>to help you efficiently execute migrations</a:t>
            </a:r>
            <a:r>
              <a:rPr lang="en-US" sz="900" b="1" kern="1200">
                <a:solidFill>
                  <a:schemeClr val="tx1"/>
                </a:solidFill>
                <a:effectLst/>
                <a:latin typeface="Segoe UI Light" pitchFamily="34" charset="0"/>
                <a:ea typeface="+mn-ea"/>
                <a:cs typeface="+mn-cs"/>
              </a:rPr>
              <a:t>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And cost effective offers</a:t>
            </a:r>
            <a:r>
              <a:rPr lang="en-US" sz="900" kern="1200">
                <a:solidFill>
                  <a:schemeClr val="tx1"/>
                </a:solidFill>
                <a:effectLst/>
                <a:latin typeface="Segoe UI Light" pitchFamily="34" charset="0"/>
                <a:ea typeface="+mn-ea"/>
                <a:cs typeface="+mn-cs"/>
              </a:rPr>
              <a:t> to help you save money before, during, and after migration </a:t>
            </a:r>
            <a:endParaRPr lang="en-US">
              <a:effectLst/>
            </a:endParaRPr>
          </a:p>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30623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s://www.microsoft.com/en-us/sam/use-cases.aspx</a:t>
            </a:r>
            <a:r>
              <a:rPr lang="en-US"/>
              <a:t> – for more info on Solution Assessments</a:t>
            </a:r>
          </a:p>
          <a:p>
            <a:endParaRPr lang="en-US"/>
          </a:p>
        </p:txBody>
      </p:sp>
      <p:sp>
        <p:nvSpPr>
          <p:cNvPr id="4" name="Slide Number Placeholder 3"/>
          <p:cNvSpPr>
            <a:spLocks noGrp="1"/>
          </p:cNvSpPr>
          <p:nvPr>
            <p:ph type="sldNum" sz="quarter" idx="5"/>
          </p:nvPr>
        </p:nvSpPr>
        <p:spPr/>
        <p:txBody>
          <a:bodyPr/>
          <a:lstStyle/>
          <a:p>
            <a:fld id="{46573EFA-B2BF-4E6C-BB80-565FE261562F}" type="slidenum">
              <a:rPr lang="en-US" smtClean="0"/>
              <a:t>14</a:t>
            </a:fld>
            <a:endParaRPr lang="en-US"/>
          </a:p>
        </p:txBody>
      </p:sp>
    </p:spTree>
    <p:extLst>
      <p:ext uri="{BB962C8B-B14F-4D97-AF65-F5344CB8AC3E}">
        <p14:creationId xmlns:p14="http://schemas.microsoft.com/office/powerpoint/2010/main" val="31324393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B50BFD3E-08BC-49E8-8BB5-714EC69F61E0}" type="slidenum">
              <a:rPr lang="en-US" smtClean="0">
                <a:solidFill>
                  <a:prstClr val="black"/>
                </a:solidFill>
              </a:rPr>
              <a:pPr>
                <a:defRPr/>
              </a:pPr>
              <a:t>15</a:t>
            </a:fld>
            <a:endParaRPr lang="en-US">
              <a:solidFill>
                <a:prstClr val="black"/>
              </a:solidFill>
            </a:endParaRPr>
          </a:p>
        </p:txBody>
      </p:sp>
    </p:spTree>
    <p:extLst>
      <p:ext uri="{BB962C8B-B14F-4D97-AF65-F5344CB8AC3E}">
        <p14:creationId xmlns:p14="http://schemas.microsoft.com/office/powerpoint/2010/main" val="1992339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al life migrations can be complex and messy to navigate. </a:t>
            </a:r>
          </a:p>
          <a:p>
            <a:endParaRPr lang="en-US"/>
          </a:p>
          <a:p>
            <a:r>
              <a:rPr lang="en-US"/>
              <a:t>This is from our FTA team which has been working with many </a:t>
            </a:r>
            <a:r>
              <a:rPr lang="en-US" err="1"/>
              <a:t>many</a:t>
            </a:r>
            <a:r>
              <a:rPr lang="en-US"/>
              <a:t> customers…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A02FF-58B3-4B39-ADFF-946B507525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021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al life migrations can be complex and messy to navigate. </a:t>
            </a:r>
          </a:p>
          <a:p>
            <a:endParaRPr lang="en-US"/>
          </a:p>
          <a:p>
            <a:r>
              <a:rPr lang="en-US"/>
              <a:t>This is from our FTA team which has been working with many </a:t>
            </a:r>
            <a:r>
              <a:rPr lang="en-US" err="1"/>
              <a:t>many</a:t>
            </a:r>
            <a:r>
              <a:rPr lang="en-US"/>
              <a:t> customers…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A02FF-58B3-4B39-ADFF-946B507525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0211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altLang="zh-TW">
                <a:ea typeface="新細明體"/>
              </a:rPr>
              <a:t>Think about the holistic Azure Core IaaS Stack across Linux and Windows and Hybrid deployment consideration</a:t>
            </a:r>
          </a:p>
          <a:p>
            <a:r>
              <a:rPr lang="en-US"/>
              <a:t>Using Azure Migrate as the tool </a:t>
            </a:r>
          </a:p>
          <a:p>
            <a:r>
              <a:rPr lang="en-US"/>
              <a:t>Joining AMP / Azure Advanced Specialization Partner Program / Azure Support</a:t>
            </a:r>
          </a:p>
        </p:txBody>
      </p:sp>
      <p:sp>
        <p:nvSpPr>
          <p:cNvPr id="4" name="投影片編號版面配置區 3"/>
          <p:cNvSpPr>
            <a:spLocks noGrp="1"/>
          </p:cNvSpPr>
          <p:nvPr>
            <p:ph type="sldNum" sz="quarter" idx="5"/>
          </p:nvPr>
        </p:nvSpPr>
        <p:spPr/>
        <p:txBody>
          <a:bodyPr/>
          <a:lstStyle/>
          <a:p>
            <a:fld id="{46573EFA-B2BF-4E6C-BB80-565FE261562F}" type="slidenum">
              <a:rPr lang="en-US" smtClean="0"/>
              <a:t>5</a:t>
            </a:fld>
            <a:endParaRPr lang="en-US"/>
          </a:p>
        </p:txBody>
      </p:sp>
    </p:spTree>
    <p:extLst>
      <p:ext uri="{BB962C8B-B14F-4D97-AF65-F5344CB8AC3E}">
        <p14:creationId xmlns:p14="http://schemas.microsoft.com/office/powerpoint/2010/main" val="1844588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342900" lvl="1" indent="-342900"/>
            <a:r>
              <a:rPr lang="en-US"/>
              <a:t>Think about Windows Server migration alongside with Linux workload migration when designing your migration plan to Azure</a:t>
            </a:r>
          </a:p>
          <a:p>
            <a:pPr marL="342900" lvl="1" indent="-342900"/>
            <a:r>
              <a:rPr lang="en-US"/>
              <a:t>Pick the right VM, storage options and think about Networking needs from the get go</a:t>
            </a:r>
          </a:p>
          <a:p>
            <a:pPr marL="342900" lvl="1" indent="-342900"/>
            <a:r>
              <a:rPr lang="en-US"/>
              <a:t>For specialized workloads, use specialized solutions like Azure VMware solutions, Azure Red Hat OpenShift, SUSE Enterprise Linux with SAP on Azure, HPC certified workloads…</a:t>
            </a:r>
            <a:r>
              <a:rPr lang="en-US" err="1"/>
              <a:t>etc</a:t>
            </a:r>
            <a:r>
              <a:rPr lang="zh-TW" altLang="en-US">
                <a:ea typeface="新細明體"/>
              </a:rPr>
              <a:t> </a:t>
            </a:r>
            <a:endParaRPr lang="en-US">
              <a:ea typeface="新細明體"/>
            </a:endParaRPr>
          </a:p>
          <a:p>
            <a:pPr marL="342900" lvl="1" indent="-342900"/>
            <a:r>
              <a:rPr lang="en-US"/>
              <a:t>For workloads that cannot be migrated, consider using Azure Arc to build Hybrid deployment model and connect customer’s on-premises environment</a:t>
            </a:r>
            <a:r>
              <a:rPr lang="en-US" altLang="zh-TW">
                <a:ea typeface="新細明體"/>
              </a:rPr>
              <a:t>.</a:t>
            </a:r>
            <a:endParaRPr lang="en-US">
              <a:ea typeface="新細明體"/>
            </a:endParaRPr>
          </a:p>
          <a:p>
            <a:endParaRPr lang="en-US"/>
          </a:p>
          <a:p>
            <a:r>
              <a:rPr lang="en-US"/>
              <a:t>Joining AMP / Azure Advanced Specialization Partner Program / Azure Support</a:t>
            </a:r>
            <a:endParaRPr lang="en-US">
              <a:cs typeface="Calibri" panose="020F0502020204030204"/>
            </a:endParaRPr>
          </a:p>
        </p:txBody>
      </p:sp>
      <p:sp>
        <p:nvSpPr>
          <p:cNvPr id="4" name="投影片編號版面配置區 3"/>
          <p:cNvSpPr>
            <a:spLocks noGrp="1"/>
          </p:cNvSpPr>
          <p:nvPr>
            <p:ph type="sldNum" sz="quarter" idx="5"/>
          </p:nvPr>
        </p:nvSpPr>
        <p:spPr/>
        <p:txBody>
          <a:bodyPr/>
          <a:lstStyle/>
          <a:p>
            <a:fld id="{46573EFA-B2BF-4E6C-BB80-565FE261562F}" type="slidenum">
              <a:rPr lang="en-US" smtClean="0"/>
              <a:t>6</a:t>
            </a:fld>
            <a:endParaRPr lang="en-US"/>
          </a:p>
        </p:txBody>
      </p:sp>
    </p:spTree>
    <p:extLst>
      <p:ext uri="{BB962C8B-B14F-4D97-AF65-F5344CB8AC3E}">
        <p14:creationId xmlns:p14="http://schemas.microsoft.com/office/powerpoint/2010/main" val="1378433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a:latin typeface="Segoe UI"/>
                <a:cs typeface="Segoe UI"/>
              </a:rPr>
              <a:t>Azure infrastructure is designed to run every type of workload, from general purpose workloads such as Windows Server, SQL and Linux, to specialized (or purpose-built) workloads like VMware, SAP, Cray, and NetApp.</a:t>
            </a:r>
          </a:p>
          <a:p>
            <a:endParaRPr lang="en-US" sz="800" b="0">
              <a:latin typeface="Segoe UI"/>
              <a:cs typeface="Segoe UI"/>
            </a:endParaRPr>
          </a:p>
          <a:p>
            <a:r>
              <a:rPr lang="en-US" sz="800" b="0">
                <a:latin typeface="Segoe UI"/>
                <a:cs typeface="Segoe UI"/>
              </a:rPr>
              <a:t>To achieve this, Azure offers </a:t>
            </a:r>
            <a:r>
              <a:rPr lang="en-US" sz="800" b="1">
                <a:latin typeface="Segoe UI"/>
                <a:cs typeface="Segoe UI"/>
              </a:rPr>
              <a:t>every type of virtual machine </a:t>
            </a:r>
            <a:r>
              <a:rPr lang="en-US" sz="800" b="0">
                <a:latin typeface="Segoe UI"/>
                <a:cs typeface="Segoe UI"/>
              </a:rPr>
              <a:t>to meet your compute needs – we offer a broad VM series optimized for compute, memory, disk, or GPU intensive workloads. Regardless of where you are in your cloud journey, Azure VMs can handle entry level workloads up to quantum computing. And this portfolio is growing constantly!</a:t>
            </a:r>
          </a:p>
          <a:p>
            <a:endParaRPr lang="en-US" sz="800" b="0">
              <a:latin typeface="Segoe UI"/>
              <a:cs typeface="Segoe UI"/>
            </a:endParaRPr>
          </a:p>
          <a:p>
            <a:r>
              <a:rPr lang="en-US" sz="800" b="0">
                <a:latin typeface="Segoe UI"/>
                <a:cs typeface="Segoe UI"/>
              </a:rPr>
              <a:t>We also offer </a:t>
            </a:r>
            <a:r>
              <a:rPr lang="en-US" sz="900">
                <a:solidFill>
                  <a:srgbClr val="4472C4"/>
                </a:solidFill>
                <a:effectLst/>
                <a:latin typeface="Calibri" panose="020F0502020204030204" pitchFamily="34" charset="0"/>
                <a:ea typeface="Calibri" panose="020F0502020204030204" pitchFamily="34" charset="0"/>
              </a:rPr>
              <a:t>a </a:t>
            </a:r>
            <a:r>
              <a:rPr lang="en-US" sz="900" b="1">
                <a:solidFill>
                  <a:srgbClr val="4472C4"/>
                </a:solidFill>
                <a:effectLst/>
                <a:latin typeface="Calibri" panose="020F0502020204030204" pitchFamily="34" charset="0"/>
                <a:ea typeface="Calibri" panose="020F0502020204030204" pitchFamily="34" charset="0"/>
              </a:rPr>
              <a:t>comprehensive range of disk storage solutions </a:t>
            </a:r>
            <a:r>
              <a:rPr lang="en-US" sz="900">
                <a:solidFill>
                  <a:srgbClr val="4472C4"/>
                </a:solidFill>
                <a:effectLst/>
                <a:latin typeface="Calibri" panose="020F0502020204030204" pitchFamily="34" charset="0"/>
                <a:ea typeface="Calibri" panose="020F0502020204030204" pitchFamily="34" charset="0"/>
              </a:rPr>
              <a:t>for every workload – from low-cost storage options for backup to high throughput, low latency storage for demanding workloads. Choose from disk storage options at various sizes (4GB to 64 TB) and price points, which enable you to optimize performance and costs by selecting the appropriate storage for your workload needs.​</a:t>
            </a:r>
            <a:endParaRPr lang="en-US" sz="90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b="1">
                <a:solidFill>
                  <a:srgbClr val="4472C4"/>
                </a:solidFill>
                <a:effectLst/>
                <a:latin typeface="Calibri" panose="020F0502020204030204" pitchFamily="34" charset="0"/>
                <a:ea typeface="Calibri" panose="020F0502020204030204" pitchFamily="34" charset="0"/>
              </a:rPr>
              <a:t>​Azure Standard HDDs</a:t>
            </a:r>
            <a:r>
              <a:rPr lang="en-US" sz="900">
                <a:solidFill>
                  <a:srgbClr val="4472C4"/>
                </a:solidFill>
                <a:effectLst/>
                <a:latin typeface="Calibri" panose="020F0502020204030204" pitchFamily="34" charset="0"/>
                <a:ea typeface="Calibri" panose="020F0502020204030204" pitchFamily="34" charset="0"/>
              </a:rPr>
              <a:t> deliver </a:t>
            </a:r>
            <a:r>
              <a:rPr lang="en-US" sz="900" b="1">
                <a:solidFill>
                  <a:srgbClr val="4472C4"/>
                </a:solidFill>
                <a:effectLst/>
                <a:latin typeface="Calibri" panose="020F0502020204030204" pitchFamily="34" charset="0"/>
                <a:ea typeface="Calibri" panose="020F0502020204030204" pitchFamily="34" charset="0"/>
              </a:rPr>
              <a:t>reliable, low-cost storage </a:t>
            </a:r>
            <a:r>
              <a:rPr lang="en-US" sz="900">
                <a:solidFill>
                  <a:srgbClr val="4472C4"/>
                </a:solidFill>
                <a:effectLst/>
                <a:latin typeface="Calibri" panose="020F0502020204030204" pitchFamily="34" charset="0"/>
                <a:ea typeface="Calibri" panose="020F0502020204030204" pitchFamily="34" charset="0"/>
              </a:rPr>
              <a:t>for Azure virtual machines running latency-insensitive workloads. Standard HDDs are suitable for backups and less-critical workloads.​</a:t>
            </a:r>
            <a:endParaRPr lang="en-US" sz="90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a:solidFill>
                  <a:srgbClr val="4472C4"/>
                </a:solidFill>
                <a:effectLst/>
                <a:latin typeface="Calibri" panose="020F0502020204030204" pitchFamily="34" charset="0"/>
                <a:ea typeface="Calibri" panose="020F0502020204030204" pitchFamily="34" charset="0"/>
              </a:rPr>
              <a:t>​</a:t>
            </a:r>
            <a:r>
              <a:rPr lang="en-US" sz="900" b="1">
                <a:solidFill>
                  <a:srgbClr val="4472C4"/>
                </a:solidFill>
                <a:effectLst/>
                <a:latin typeface="Calibri" panose="020F0502020204030204" pitchFamily="34" charset="0"/>
                <a:ea typeface="Calibri" panose="020F0502020204030204" pitchFamily="34" charset="0"/>
              </a:rPr>
              <a:t>Azure Standard SSDs </a:t>
            </a:r>
            <a:r>
              <a:rPr lang="en-US" sz="900">
                <a:solidFill>
                  <a:srgbClr val="4472C4"/>
                </a:solidFill>
                <a:effectLst/>
                <a:latin typeface="Calibri" panose="020F0502020204030204" pitchFamily="34" charset="0"/>
                <a:ea typeface="Calibri" panose="020F0502020204030204" pitchFamily="34" charset="0"/>
              </a:rPr>
              <a:t>offers </a:t>
            </a:r>
            <a:r>
              <a:rPr lang="en-US" sz="900" b="1">
                <a:solidFill>
                  <a:srgbClr val="4472C4"/>
                </a:solidFill>
                <a:effectLst/>
                <a:latin typeface="Calibri" panose="020F0502020204030204" pitchFamily="34" charset="0"/>
                <a:ea typeface="Calibri" panose="020F0502020204030204" pitchFamily="34" charset="0"/>
              </a:rPr>
              <a:t>consistent performance </a:t>
            </a:r>
            <a:r>
              <a:rPr lang="en-US" sz="900">
                <a:solidFill>
                  <a:srgbClr val="4472C4"/>
                </a:solidFill>
                <a:effectLst/>
                <a:latin typeface="Calibri" panose="020F0502020204030204" pitchFamily="34" charset="0"/>
                <a:ea typeface="Calibri" panose="020F0502020204030204" pitchFamily="34" charset="0"/>
              </a:rPr>
              <a:t>and is suitable for </a:t>
            </a:r>
            <a:r>
              <a:rPr lang="en-US" sz="900" b="1">
                <a:solidFill>
                  <a:srgbClr val="4472C4"/>
                </a:solidFill>
                <a:effectLst/>
                <a:latin typeface="Calibri" panose="020F0502020204030204" pitchFamily="34" charset="0"/>
                <a:ea typeface="Calibri" panose="020F0502020204030204" pitchFamily="34" charset="0"/>
              </a:rPr>
              <a:t>web servers, lightly used enterprise applications</a:t>
            </a:r>
            <a:r>
              <a:rPr lang="en-US" sz="900">
                <a:solidFill>
                  <a:srgbClr val="4472C4"/>
                </a:solidFill>
                <a:effectLst/>
                <a:latin typeface="Calibri" panose="020F0502020204030204" pitchFamily="34" charset="0"/>
                <a:ea typeface="Calibri" panose="020F0502020204030204" pitchFamily="34" charset="0"/>
              </a:rPr>
              <a:t>.​</a:t>
            </a:r>
            <a:endParaRPr lang="en-US" sz="90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a:solidFill>
                  <a:srgbClr val="4472C4"/>
                </a:solidFill>
                <a:effectLst/>
                <a:latin typeface="Calibri" panose="020F0502020204030204" pitchFamily="34" charset="0"/>
                <a:ea typeface="Calibri" panose="020F0502020204030204" pitchFamily="34" charset="0"/>
              </a:rPr>
              <a:t>​</a:t>
            </a:r>
            <a:r>
              <a:rPr lang="en-US" sz="900" b="1">
                <a:solidFill>
                  <a:srgbClr val="4472C4"/>
                </a:solidFill>
                <a:effectLst/>
                <a:latin typeface="Calibri" panose="020F0502020204030204" pitchFamily="34" charset="0"/>
                <a:ea typeface="Calibri" panose="020F0502020204030204" pitchFamily="34" charset="0"/>
              </a:rPr>
              <a:t>Azure Premium SSDs </a:t>
            </a:r>
            <a:r>
              <a:rPr lang="en-US" sz="900">
                <a:solidFill>
                  <a:srgbClr val="4472C4"/>
                </a:solidFill>
                <a:effectLst/>
                <a:latin typeface="Calibri" panose="020F0502020204030204" pitchFamily="34" charset="0"/>
                <a:ea typeface="Calibri" panose="020F0502020204030204" pitchFamily="34" charset="0"/>
              </a:rPr>
              <a:t>deliver </a:t>
            </a:r>
            <a:r>
              <a:rPr lang="en-US" sz="900" b="1">
                <a:solidFill>
                  <a:srgbClr val="4472C4"/>
                </a:solidFill>
                <a:effectLst/>
                <a:latin typeface="Calibri" panose="020F0502020204030204" pitchFamily="34" charset="0"/>
                <a:ea typeface="Calibri" panose="020F0502020204030204" pitchFamily="34" charset="0"/>
              </a:rPr>
              <a:t>high-performance and low-latency</a:t>
            </a:r>
            <a:r>
              <a:rPr lang="en-US" sz="900">
                <a:solidFill>
                  <a:srgbClr val="4472C4"/>
                </a:solidFill>
                <a:effectLst/>
                <a:latin typeface="Calibri" panose="020F0502020204030204" pitchFamily="34" charset="0"/>
                <a:ea typeface="Calibri" panose="020F0502020204030204" pitchFamily="34" charset="0"/>
              </a:rPr>
              <a:t> block storage for Azure virtual machines. Premium SSDs are suitable for databases, enterprise production workloads, and container volumes.​</a:t>
            </a:r>
            <a:endParaRPr lang="en-US" sz="90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b="1">
                <a:solidFill>
                  <a:srgbClr val="4472C4"/>
                </a:solidFill>
                <a:effectLst/>
                <a:latin typeface="Calibri" panose="020F0502020204030204" pitchFamily="34" charset="0"/>
                <a:ea typeface="Calibri" panose="020F0502020204030204" pitchFamily="34" charset="0"/>
              </a:rPr>
              <a:t>Azure Ultra Disks </a:t>
            </a:r>
            <a:r>
              <a:rPr lang="en-US" sz="900">
                <a:solidFill>
                  <a:srgbClr val="4472C4"/>
                </a:solidFill>
                <a:effectLst/>
                <a:latin typeface="Calibri" panose="020F0502020204030204" pitchFamily="34" charset="0"/>
                <a:ea typeface="Calibri" panose="020F0502020204030204" pitchFamily="34" charset="0"/>
              </a:rPr>
              <a:t>delivers </a:t>
            </a:r>
            <a:r>
              <a:rPr lang="en-US" sz="900" b="1">
                <a:solidFill>
                  <a:srgbClr val="4472C4"/>
                </a:solidFill>
                <a:effectLst/>
                <a:latin typeface="Calibri" panose="020F0502020204030204" pitchFamily="34" charset="0"/>
                <a:ea typeface="Calibri" panose="020F0502020204030204" pitchFamily="34" charset="0"/>
              </a:rPr>
              <a:t>high throughput, high IOPS, and sub-millisecond latency block storage </a:t>
            </a:r>
            <a:r>
              <a:rPr lang="en-US" sz="900">
                <a:solidFill>
                  <a:srgbClr val="4472C4"/>
                </a:solidFill>
                <a:effectLst/>
                <a:latin typeface="Calibri" panose="020F0502020204030204" pitchFamily="34" charset="0"/>
                <a:ea typeface="Calibri" panose="020F0502020204030204" pitchFamily="34" charset="0"/>
              </a:rPr>
              <a:t>for Azure virtual machines. Ultra Disks are suited for data-intensive workloads such as SAP HANA, top tier databases, and transaction-heavy workloads.​</a:t>
            </a:r>
            <a:endParaRPr lang="en-US" sz="900">
              <a:effectLst/>
              <a:latin typeface="Calibri" panose="020F0502020204030204" pitchFamily="34" charset="0"/>
              <a:ea typeface="Calibri" panose="020F0502020204030204" pitchFamily="34" charset="0"/>
            </a:endParaRPr>
          </a:p>
          <a:p>
            <a:endParaRPr lang="en-US" sz="800" b="0">
              <a:latin typeface="Segoe UI"/>
              <a:cs typeface="Segoe UI"/>
            </a:endParaRPr>
          </a:p>
          <a:p>
            <a:r>
              <a:rPr lang="en-US" sz="800" kern="1200">
                <a:solidFill>
                  <a:schemeClr val="tx1"/>
                </a:solidFill>
                <a:effectLst/>
                <a:latin typeface="Segoe UI" panose="020B0502040204020203" pitchFamily="34" charset="0"/>
                <a:ea typeface="+mn-ea"/>
                <a:cs typeface="+mn-cs"/>
              </a:rPr>
              <a:t>Now let’s double click on some of these workloads you can migrate to Azure, starting with Microsoft and Linux workloads</a:t>
            </a:r>
          </a:p>
          <a:p>
            <a:pPr marL="0" indent="0">
              <a:buFont typeface="Arial" panose="020B0604020202020204" pitchFamily="34" charset="0"/>
              <a:buNone/>
            </a:pPr>
            <a:endParaRPr lang="en-US" sz="8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809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We’re offering three unique value to our customers:</a:t>
            </a:r>
          </a:p>
          <a:p>
            <a:pPr marL="228600" indent="-228600">
              <a:buAutoNum type="arabicPeriod"/>
            </a:pPr>
            <a:r>
              <a:rPr lang="en-US" b="1"/>
              <a:t>Over 50% of the Azure VM Cores are running Linux, and we’re continuously investing more in the Linux and Open Source world to make sure that the experience of running the Linux-based workloads are seamless.</a:t>
            </a:r>
          </a:p>
          <a:p>
            <a:pPr marL="228600" indent="-228600">
              <a:buAutoNum type="arabicPeriod"/>
            </a:pPr>
            <a:r>
              <a:rPr lang="en-US" b="1"/>
              <a:t>Being a neutral technology provider, We have strong partnership with the Linux Distro publishers like Red Hat, SUSE and Canonical, to build co-developed applications, Azure Tuned Kernel and we jointly support our customers when they choose to run their Linux workloads on Azure, they can enjoy one ticket to solution experience.</a:t>
            </a:r>
          </a:p>
          <a:p>
            <a:pPr marL="228600" indent="-228600">
              <a:buAutoNum type="arabicPeriod"/>
            </a:pPr>
            <a:r>
              <a:rPr lang="en-US" b="1"/>
              <a:t>Top 100 Microsoft Customers using Azure are running their mission critical workloads in heterogeneous environment, and we’re also contributing back to the upstream Linux and Open Source community, to ensure the best experience possib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Linux on Azure ACOM site: </a:t>
            </a:r>
            <a:r>
              <a:rPr lang="en-US" sz="1200">
                <a:hlinkClick r:id="rId3"/>
              </a:rPr>
              <a:t>https://azure.microsoft.com/en-us/overview/linux-on-azure/</a:t>
            </a:r>
            <a:r>
              <a:rPr lang="en-US" sz="1200"/>
              <a:t> </a:t>
            </a:r>
          </a:p>
          <a:p>
            <a:pPr marL="171450" indent="-171450">
              <a:buFont typeface="Arial" panose="020B0604020202020204" pitchFamily="34" charset="0"/>
              <a:buChar char="•"/>
            </a:pPr>
            <a:endParaRPr lang="en-US">
              <a:cs typeface="Calibri"/>
            </a:endParaRPr>
          </a:p>
          <a:p>
            <a:endParaRPr lang="en-US" b="1"/>
          </a:p>
          <a:p>
            <a:endParaRPr lang="en-US" b="1"/>
          </a:p>
          <a:p>
            <a:endParaRPr lang="en-US" b="1"/>
          </a:p>
          <a:p>
            <a:endParaRPr lang="en-US" b="1"/>
          </a:p>
          <a:p>
            <a:endParaRPr lang="en-US" b="1"/>
          </a:p>
          <a:p>
            <a:r>
              <a:rPr lang="en-US" b="1"/>
              <a:t>3 key messages </a:t>
            </a:r>
          </a:p>
          <a:p>
            <a:r>
              <a:rPr lang="en-US" b="1"/>
              <a:t>#1 majority of Azure customer workloads run on Linux</a:t>
            </a:r>
          </a:p>
          <a:p>
            <a:r>
              <a:rPr lang="en-US" b="1"/>
              <a:t>#2 Our key strength is in our </a:t>
            </a:r>
            <a:r>
              <a:rPr lang="en-US" b="1" err="1"/>
              <a:t>partnersships</a:t>
            </a:r>
            <a:endParaRPr lang="en-US" b="1"/>
          </a:p>
          <a:p>
            <a:pPr marL="171450" indent="-171450">
              <a:buFontTx/>
              <a:buChar char="-"/>
            </a:pPr>
            <a:r>
              <a:rPr lang="en-US" b="0"/>
              <a:t>AL2 competes directly with Red Hat</a:t>
            </a:r>
          </a:p>
          <a:p>
            <a:pPr marL="171450" indent="-171450">
              <a:buFontTx/>
              <a:buChar char="-"/>
            </a:pPr>
            <a:r>
              <a:rPr lang="en-US" b="0"/>
              <a:t>We partner closely with the top distro providers – for Red Hat and SUSE that means joint investments in support and product integration</a:t>
            </a:r>
          </a:p>
          <a:p>
            <a:pPr marL="171450" indent="-171450">
              <a:buFontTx/>
              <a:buChar char="-"/>
            </a:pPr>
            <a:r>
              <a:rPr lang="en-US" b="0"/>
              <a:t>It means Azure tuned kernels for optimal performance on the platform</a:t>
            </a:r>
          </a:p>
          <a:p>
            <a:pPr marL="171450" indent="-171450">
              <a:buFontTx/>
              <a:buChar char="-"/>
            </a:pPr>
            <a:r>
              <a:rPr lang="en-US" b="0"/>
              <a:t>Joint marketing, product development, lab development and training</a:t>
            </a:r>
          </a:p>
          <a:p>
            <a:pPr marL="171450" indent="-171450">
              <a:buFontTx/>
              <a:buChar char="-"/>
            </a:pPr>
            <a:r>
              <a:rPr lang="en-US" b="0"/>
              <a:t>We work very closely with SAP </a:t>
            </a:r>
          </a:p>
          <a:p>
            <a:pPr marL="0" indent="0">
              <a:buFontTx/>
              <a:buNone/>
            </a:pPr>
            <a:r>
              <a:rPr lang="en-US" b="0"/>
              <a:t>- We recently started partnering with Oracle</a:t>
            </a:r>
          </a:p>
          <a:p>
            <a:r>
              <a:rPr lang="en-US" b="1"/>
              <a:t>#3 top enterprise customers trust Linux on Azure with their workloads </a:t>
            </a:r>
          </a:p>
          <a:p>
            <a:endParaRPr lang="en-US" b="1"/>
          </a:p>
          <a:p>
            <a:endParaRPr lang="en-US" b="1"/>
          </a:p>
          <a:p>
            <a:pPr algn="l" rtl="0" fontAlgn="base"/>
            <a:r>
              <a:rPr lang="en-US" sz="1800" b="0" i="0" u="none" strike="noStrike">
                <a:solidFill>
                  <a:srgbClr val="000000"/>
                </a:solidFill>
                <a:effectLst/>
                <a:latin typeface="Calibri" panose="020F0502020204030204" pitchFamily="34" charset="0"/>
              </a:rPr>
              <a:t>Linux workloads are among the fastest growing workloads on Azure. In fact, more than 50% of Azure VM cores are running Linux. Top 100 Azure customers are running Linux on Azure. </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Microsoft has been investing heavily in Linux and Open Source to ensure the best experience of running Linux workloads on Azure. We have strong partnership with the Linux Distro publishers like Red Hat, SUSE and Canonical, to build co-developed applications, Azure Tuned Kernel. We jointly support our customers when they choose to run their Linux workloads on Azure, so they can enjoy integrated support and timely resolution.</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 </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Linux on Azure ACOM site: </a:t>
            </a:r>
            <a:r>
              <a:rPr lang="en-US" sz="1800" b="0" i="0" u="sng" strike="noStrike">
                <a:solidFill>
                  <a:srgbClr val="50E6FF"/>
                </a:solidFill>
                <a:effectLst/>
                <a:latin typeface="Calibri" panose="020F0502020204030204" pitchFamily="34" charset="0"/>
                <a:hlinkClick r:id="rId3"/>
              </a:rPr>
              <a:t>https://azure.microsoft.com/en-us/overview/linux-on-azure/</a:t>
            </a:r>
            <a:r>
              <a:rPr lang="en-US" sz="1800" b="0" i="0" u="none" strike="noStrike">
                <a:solidFill>
                  <a:srgbClr val="000000"/>
                </a:solidFill>
                <a:effectLst/>
                <a:latin typeface="Calibri" panose="020F0502020204030204" pitchFamily="34" charset="0"/>
              </a:rPr>
              <a:t> </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endParaRPr lang="en-US" b="1"/>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3/2021 10:4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635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takes a comprehensive approach and offers unique hybrid capabilities that give customers the flexibility to innovate anywhere in their environment.</a:t>
            </a:r>
          </a:p>
          <a:p>
            <a:endParaRPr lang="en-US"/>
          </a:p>
          <a:p>
            <a:r>
              <a:rPr lang="en-US" sz="1200" kern="1200">
                <a:solidFill>
                  <a:schemeClr val="tx1"/>
                </a:solidFill>
                <a:effectLst/>
                <a:latin typeface="+mn-lt"/>
                <a:ea typeface="+mn-ea"/>
                <a:cs typeface="+mn-cs"/>
              </a:rPr>
              <a:t>Enabled by Azure Arc, you can bring Azure services to any existing infrastructure including other clouds you are using, so you can take advantage of cloud benefits everywhere, such as scalability, fast deployment, and always up-to-date cloud innovation.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You can build Azure-consistent new cloud infrastructure in your own datacenter with Azure Stack, so you can modernize your datacenter and run cloud native applications on-premises while taking advantage of existing investments and meeting regulatory compliances.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You can extend AI to edge devices with Azure IoT, so you can run machine learning and advanced analytics close to the users and the data. As a result, you can gain real-time insights and deliver immersive experiences at the edge of your network, opening up endless new business opportunities.</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nd you can do it all using Azure Arc as the single control plane to seamlessly manage and secure your IT resources, such as Linux/Windows VMs and Kubernetes clusters, across </a:t>
            </a:r>
            <a:r>
              <a:rPr lang="en-US" sz="1200" kern="1200" err="1">
                <a:solidFill>
                  <a:schemeClr val="tx1"/>
                </a:solidFill>
                <a:effectLst/>
                <a:latin typeface="+mn-lt"/>
                <a:ea typeface="+mn-ea"/>
                <a:cs typeface="+mn-cs"/>
              </a:rPr>
              <a:t>multicloud</a:t>
            </a:r>
            <a:r>
              <a:rPr lang="en-US" sz="1200" kern="1200">
                <a:solidFill>
                  <a:schemeClr val="tx1"/>
                </a:solidFill>
                <a:effectLst/>
                <a:latin typeface="+mn-lt"/>
                <a:ea typeface="+mn-ea"/>
                <a:cs typeface="+mn-cs"/>
              </a:rPr>
              <a:t>, on-premises and the edge.</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Now let’s take a deeper look at the three hero Hybrid offerings: Azure Arc, Azure Stack and Azure IoT</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3/2021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2890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a:t>Using Azure Migrate as the tool </a:t>
            </a:r>
            <a:endParaRPr lang="en-US">
              <a:cs typeface="Calibri"/>
            </a:endParaRPr>
          </a:p>
          <a:p>
            <a:pPr marL="342900" lvl="1" indent="-342900"/>
            <a:r>
              <a:rPr lang="en-US"/>
              <a:t>Before Azure Migrate: understand Azure migration readiness with SMART (aka.ms/</a:t>
            </a:r>
            <a:r>
              <a:rPr lang="en-US" err="1"/>
              <a:t>smartool</a:t>
            </a:r>
            <a:r>
              <a:rPr lang="en-US" altLang="zh-TW">
                <a:ea typeface="新細明體"/>
              </a:rPr>
              <a:t>)</a:t>
            </a:r>
            <a:endParaRPr lang="en-US">
              <a:ea typeface="新細明體"/>
            </a:endParaRPr>
          </a:p>
          <a:p>
            <a:pPr marL="342900" lvl="1" indent="-342900"/>
            <a:r>
              <a:rPr lang="en-US"/>
              <a:t>Use Azure Migrate to plan, execute, and track migration</a:t>
            </a:r>
          </a:p>
          <a:p>
            <a:pPr marL="342900" lvl="1" indent="-342900"/>
            <a:r>
              <a:rPr lang="en-US"/>
              <a:t>Using Azure Migrate to Assess</a:t>
            </a:r>
          </a:p>
          <a:p>
            <a:pPr marL="342900" lvl="2" indent="-342900"/>
            <a:r>
              <a:rPr lang="en-US"/>
              <a:t>Server assessment </a:t>
            </a:r>
            <a:r>
              <a:rPr lang="en-US" altLang="zh-TW">
                <a:ea typeface="新細明體"/>
              </a:rPr>
              <a:t>–</a:t>
            </a:r>
            <a:r>
              <a:rPr lang="zh-TW" altLang="en-US">
                <a:ea typeface="新細明體"/>
              </a:rPr>
              <a:t> </a:t>
            </a:r>
            <a:r>
              <a:rPr lang="en-US"/>
              <a:t>server discovery</a:t>
            </a:r>
            <a:r>
              <a:rPr lang="zh-TW" altLang="en-US">
                <a:ea typeface="新細明體"/>
              </a:rPr>
              <a:t> </a:t>
            </a:r>
            <a:r>
              <a:rPr lang="en-US" altLang="zh-TW">
                <a:ea typeface="新細明體"/>
              </a:rPr>
              <a:t>&amp;</a:t>
            </a:r>
            <a:r>
              <a:rPr lang="zh-TW" altLang="en-US">
                <a:ea typeface="新細明體"/>
              </a:rPr>
              <a:t> </a:t>
            </a:r>
            <a:r>
              <a:rPr lang="en-US"/>
              <a:t>analyze dependencies, cost estimation, and VM size recommendations</a:t>
            </a:r>
          </a:p>
          <a:p>
            <a:pPr marL="342900" lvl="2" indent="-342900"/>
            <a:r>
              <a:rPr lang="en-US"/>
              <a:t>Database assessment with Azure Migrate </a:t>
            </a:r>
            <a:r>
              <a:rPr lang="en-US" altLang="zh-TW">
                <a:ea typeface="新細明體"/>
              </a:rPr>
              <a:t>–</a:t>
            </a:r>
            <a:r>
              <a:rPr lang="zh-TW" altLang="en-US">
                <a:ea typeface="新細明體"/>
              </a:rPr>
              <a:t> </a:t>
            </a:r>
            <a:r>
              <a:rPr lang="en-US"/>
              <a:t>DMA report comes back with SKU recommendations, cost estimations</a:t>
            </a:r>
          </a:p>
          <a:p>
            <a:pPr marL="342900" lvl="1" indent="-342900"/>
            <a:r>
              <a:rPr lang="en-US"/>
              <a:t>Using Azure Migrate to Migrate</a:t>
            </a:r>
          </a:p>
          <a:p>
            <a:pPr marL="342900" lvl="2" indent="-342900"/>
            <a:r>
              <a:rPr lang="en-US"/>
              <a:t>Test and then migrate</a:t>
            </a:r>
          </a:p>
          <a:p>
            <a:pPr marL="342900" lvl="1" indent="-342900"/>
            <a:r>
              <a:rPr lang="en-US"/>
              <a:t>CTAs</a:t>
            </a:r>
          </a:p>
          <a:p>
            <a:pPr marL="342900" lvl="2" indent="-342900"/>
            <a:r>
              <a:rPr lang="en-US"/>
              <a:t>Learn more on Website: aka.ms/</a:t>
            </a:r>
            <a:r>
              <a:rPr lang="en-US" err="1"/>
              <a:t>azuremigrate</a:t>
            </a:r>
            <a:r>
              <a:rPr lang="zh-TW" altLang="en-US">
                <a:ea typeface="新細明體"/>
              </a:rPr>
              <a:t> </a:t>
            </a:r>
            <a:endParaRPr lang="en-US">
              <a:ea typeface="新細明體"/>
            </a:endParaRPr>
          </a:p>
          <a:p>
            <a:pPr marL="342900" lvl="2" indent="-342900"/>
            <a:r>
              <a:rPr lang="en-US"/>
              <a:t>Launch Azure Migrate and start your assessment</a:t>
            </a:r>
          </a:p>
        </p:txBody>
      </p:sp>
      <p:sp>
        <p:nvSpPr>
          <p:cNvPr id="4" name="投影片編號版面配置區 3"/>
          <p:cNvSpPr>
            <a:spLocks noGrp="1"/>
          </p:cNvSpPr>
          <p:nvPr>
            <p:ph type="sldNum" sz="quarter" idx="5"/>
          </p:nvPr>
        </p:nvSpPr>
        <p:spPr/>
        <p:txBody>
          <a:bodyPr/>
          <a:lstStyle/>
          <a:p>
            <a:fld id="{46573EFA-B2BF-4E6C-BB80-565FE261562F}" type="slidenum">
              <a:rPr lang="en-US" smtClean="0"/>
              <a:t>10</a:t>
            </a:fld>
            <a:endParaRPr lang="en-US"/>
          </a:p>
        </p:txBody>
      </p:sp>
    </p:spTree>
    <p:extLst>
      <p:ext uri="{BB962C8B-B14F-4D97-AF65-F5344CB8AC3E}">
        <p14:creationId xmlns:p14="http://schemas.microsoft.com/office/powerpoint/2010/main" val="23049089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jpe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jpe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image" Target="../media/image27.emf"/><Relationship Id="rId1" Type="http://schemas.openxmlformats.org/officeDocument/2006/relationships/slideMaster" Target="../slideMasters/slideMaster5.xml"/><Relationship Id="rId5" Type="http://schemas.openxmlformats.org/officeDocument/2006/relationships/image" Target="../media/image30.wmf"/><Relationship Id="rId4" Type="http://schemas.openxmlformats.org/officeDocument/2006/relationships/image" Target="../media/image29.wmf"/></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emf"/><Relationship Id="rId1" Type="http://schemas.openxmlformats.org/officeDocument/2006/relationships/slideMaster" Target="../slideMasters/slideMaster6.xml"/><Relationship Id="rId4" Type="http://schemas.openxmlformats.org/officeDocument/2006/relationships/image" Target="../media/image40.png"/></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6.jpe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6.jpeg"/></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3.jpeg"/><Relationship Id="rId1" Type="http://schemas.openxmlformats.org/officeDocument/2006/relationships/slideMaster" Target="../slideMasters/slideMaster9.xml"/><Relationship Id="rId4" Type="http://schemas.openxmlformats.org/officeDocument/2006/relationships/image" Target="../media/image44.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5.jpeg"/><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5671593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396474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8718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218833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435236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94153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69441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499724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87224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130986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19018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5851392"/>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24737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428715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3"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70604109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603"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9362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122058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15094754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4827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858001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190882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47339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82662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05940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78618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24217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4979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060204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160019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3"/>
            <a:ext cx="7233415" cy="276871"/>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azure.com/</a:t>
            </a:r>
            <a:r>
              <a:rPr lang="en-US" sz="1176" err="1">
                <a:gradFill>
                  <a:gsLst>
                    <a:gs pos="0">
                      <a:schemeClr val="tx2"/>
                    </a:gs>
                    <a:gs pos="100000">
                      <a:schemeClr val="tx2"/>
                    </a:gs>
                  </a:gsLst>
                  <a:lin ang="5400000" scaled="1"/>
                </a:gradFill>
              </a:rPr>
              <a:t>cloudadoptionframework</a:t>
            </a:r>
            <a:endParaRPr lang="en-US" sz="1176">
              <a:gradFill>
                <a:gsLst>
                  <a:gs pos="0">
                    <a:schemeClr val="tx2"/>
                  </a:gs>
                  <a:gs pos="100000">
                    <a:schemeClr val="tx2"/>
                  </a:gs>
                </a:gsLst>
                <a:lin ang="5400000" scaled="1"/>
              </a:gradFill>
            </a:endParaRP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5"/>
            <a:ext cx="11400626" cy="196150"/>
          </a:xfrm>
          <a:prstGeom prst="rect">
            <a:avLst/>
          </a:prstGeom>
        </p:spPr>
        <p:txBody>
          <a:bodyPr wrap="squar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390048102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18723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898051"/>
            <a:ext cx="5426345" cy="2387600"/>
          </a:xfrm>
        </p:spPr>
        <p:txBody>
          <a:bodyPr rIns="0" anchor="b"/>
          <a:lstStyle>
            <a:lvl1pPr algn="l">
              <a:defRPr sz="5995">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3884754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9" y="0"/>
            <a:ext cx="6211835" cy="6858000"/>
          </a:xfrm>
          <a:prstGeom prst="rect">
            <a:avLst/>
          </a:prstGeom>
        </p:spPr>
      </p:pic>
      <p:sp>
        <p:nvSpPr>
          <p:cNvPr id="2" name="Title 1"/>
          <p:cNvSpPr>
            <a:spLocks noGrp="1"/>
          </p:cNvSpPr>
          <p:nvPr>
            <p:ph type="ctrTitle"/>
          </p:nvPr>
        </p:nvSpPr>
        <p:spPr>
          <a:xfrm>
            <a:off x="553824" y="1898051"/>
            <a:ext cx="5426345" cy="2387600"/>
          </a:xfrm>
        </p:spPr>
        <p:txBody>
          <a:bodyPr rIns="0" anchor="b"/>
          <a:lstStyle>
            <a:lvl1pPr algn="l">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3420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36485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88234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180907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560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1509636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6664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2710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5702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898051"/>
            <a:ext cx="5426345" cy="2387600"/>
          </a:xfrm>
        </p:spPr>
        <p:txBody>
          <a:bodyPr rIns="0" anchor="b"/>
          <a:lstStyle>
            <a:lvl1pPr algn="l">
              <a:defRPr sz="5996">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536366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8" y="0"/>
            <a:ext cx="6211835" cy="6858000"/>
          </a:xfrm>
          <a:prstGeom prst="rect">
            <a:avLst/>
          </a:prstGeom>
        </p:spPr>
      </p:pic>
      <p:sp>
        <p:nvSpPr>
          <p:cNvPr id="2" name="Title 1"/>
          <p:cNvSpPr>
            <a:spLocks noGrp="1"/>
          </p:cNvSpPr>
          <p:nvPr>
            <p:ph type="ctrTitle"/>
          </p:nvPr>
        </p:nvSpPr>
        <p:spPr>
          <a:xfrm>
            <a:off x="553823" y="1898051"/>
            <a:ext cx="5426345" cy="2387600"/>
          </a:xfrm>
        </p:spPr>
        <p:txBody>
          <a:bodyPr rIns="0" anchor="b"/>
          <a:lstStyle>
            <a:lvl1pPr algn="l">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268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15432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319902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839054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48251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214563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86554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579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16173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337816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6342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182546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581143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6665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128822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35817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8456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6415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30341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375058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24868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450941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321987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590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2457825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34141325"/>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1082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885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41693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15850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27128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lnSpc>
                <a:spcPct val="100000"/>
              </a:lnSpc>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176499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1_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05402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lnSpc>
                <a:spcPct val="100000"/>
              </a:lnSpc>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85733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56479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1513662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3775499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104089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73056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192591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3280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109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850415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534294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98149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endParaRPr lang="en-IN"/>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0496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07587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3"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8698465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3133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254533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036763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19157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735788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06689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solidFill>
                <a:schemeClr val="bg1">
                  <a:lumMod val="65000"/>
                </a:schemeClr>
              </a:solidFill>
            </a:endParaRPr>
          </a:p>
        </p:txBody>
      </p:sp>
    </p:spTree>
    <p:extLst>
      <p:ext uri="{BB962C8B-B14F-4D97-AF65-F5344CB8AC3E}">
        <p14:creationId xmlns:p14="http://schemas.microsoft.com/office/powerpoint/2010/main" val="248600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62713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70546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03748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603"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028366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72312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419345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97262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60503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2" y="585790"/>
            <a:ext cx="1366245" cy="292608"/>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599442" y="2913428"/>
            <a:ext cx="2788943" cy="1408176"/>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5" y="0"/>
            <a:ext cx="6712307" cy="6858000"/>
          </a:xfrm>
          <a:prstGeom prst="rect">
            <a:avLst/>
          </a:prstGeom>
        </p:spPr>
      </p:pic>
    </p:spTree>
    <p:extLst>
      <p:ext uri="{BB962C8B-B14F-4D97-AF65-F5344CB8AC3E}">
        <p14:creationId xmlns:p14="http://schemas.microsoft.com/office/powerpoint/2010/main" val="3921616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D8699408-0936-41F4-8656-48EC35288DAB}"/>
              </a:ext>
            </a:extLst>
          </p:cNvPr>
          <p:cNvSpPr>
            <a:spLocks noGrp="1"/>
          </p:cNvSpPr>
          <p:nvPr>
            <p:ph type="body" sz="quarter" idx="13" hasCustomPrompt="1"/>
          </p:nvPr>
        </p:nvSpPr>
        <p:spPr>
          <a:xfrm>
            <a:off x="8408990" y="589607"/>
            <a:ext cx="3200400" cy="307804"/>
          </a:xfrm>
        </p:spPr>
        <p:txBody>
          <a:bodyPr lIns="0" tIns="0" rIns="0" bIns="0"/>
          <a:lstStyle>
            <a:lvl1pPr marL="0" indent="0" algn="r">
              <a:buNone/>
              <a:defRPr sz="2000">
                <a:latin typeface="+mn-lt"/>
              </a:defRPr>
            </a:lvl1pPr>
            <a:lvl2pPr marL="342768" indent="0">
              <a:buNone/>
              <a:defRPr sz="2000"/>
            </a:lvl2pPr>
            <a:lvl3pPr marL="571281" indent="0">
              <a:buNone/>
              <a:defRPr sz="2000"/>
            </a:lvl3pPr>
            <a:lvl4pPr marL="799792" indent="0">
              <a:buNone/>
              <a:defRPr sz="2000"/>
            </a:lvl4pPr>
            <a:lvl5pPr marL="1028304" indent="0">
              <a:buNone/>
              <a:defRPr sz="2000"/>
            </a:lvl5pPr>
          </a:lstStyle>
          <a:p>
            <a:pPr lvl="0"/>
            <a:r>
              <a:rPr lang="en-US"/>
              <a:t>Session code</a:t>
            </a:r>
          </a:p>
        </p:txBody>
      </p:sp>
    </p:spTree>
    <p:extLst>
      <p:ext uri="{BB962C8B-B14F-4D97-AF65-F5344CB8AC3E}">
        <p14:creationId xmlns:p14="http://schemas.microsoft.com/office/powerpoint/2010/main" val="3926162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10495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4894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954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mn-lt"/>
                <a:cs typeface="Segoe UI" panose="020B0502040204020203" pitchFamily="34" charset="0"/>
              </a:defRPr>
            </a:lvl1pPr>
            <a:lvl2pPr marL="255490" indent="0">
              <a:buFont typeface="Wingdings" panose="05000000000000000000" pitchFamily="2" charset="2"/>
              <a:buNone/>
              <a:defRPr sz="2000" b="0">
                <a:latin typeface="+mn-lt"/>
              </a:defRPr>
            </a:lvl2pPr>
            <a:lvl3pPr marL="450677" indent="0">
              <a:buFont typeface="Wingdings" panose="05000000000000000000" pitchFamily="2" charset="2"/>
              <a:buNone/>
              <a:tabLst/>
              <a:defRPr sz="1600" b="0">
                <a:latin typeface="+mn-lt"/>
              </a:defRPr>
            </a:lvl3pPr>
            <a:lvl4pPr marL="652212" indent="0">
              <a:buFont typeface="Wingdings" panose="05000000000000000000" pitchFamily="2" charset="2"/>
              <a:buNone/>
              <a:defRPr sz="1400" b="0">
                <a:latin typeface="+mn-lt"/>
              </a:defRPr>
            </a:lvl4pPr>
            <a:lvl5pPr marL="853747"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mn-lt"/>
                <a:cs typeface="Segoe UI" panose="020B0502040204020203" pitchFamily="34" charset="0"/>
              </a:defRPr>
            </a:lvl1pPr>
            <a:lvl2pPr marL="255490" indent="0">
              <a:buFont typeface="Wingdings" panose="05000000000000000000" pitchFamily="2" charset="2"/>
              <a:buNone/>
              <a:defRPr sz="2000" b="0">
                <a:latin typeface="+mn-lt"/>
              </a:defRPr>
            </a:lvl2pPr>
            <a:lvl3pPr marL="450677" indent="0">
              <a:buFont typeface="Wingdings" panose="05000000000000000000" pitchFamily="2" charset="2"/>
              <a:buNone/>
              <a:tabLst/>
              <a:defRPr sz="1600" b="0">
                <a:latin typeface="+mn-lt"/>
              </a:defRPr>
            </a:lvl3pPr>
            <a:lvl4pPr marL="652212" indent="0">
              <a:buFont typeface="Wingdings" panose="05000000000000000000" pitchFamily="2" charset="2"/>
              <a:buNone/>
              <a:defRPr sz="1400" b="0">
                <a:latin typeface="+mn-lt"/>
              </a:defRPr>
            </a:lvl4pPr>
            <a:lvl5pPr marL="853747"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35892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spTree>
    <p:extLst>
      <p:ext uri="{BB962C8B-B14F-4D97-AF65-F5344CB8AC3E}">
        <p14:creationId xmlns:p14="http://schemas.microsoft.com/office/powerpoint/2010/main" val="522352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33829561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29295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161270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8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025479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536366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96527"/>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34792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30645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431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60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66619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2210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21319843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428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7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1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8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5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9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92237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80476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176964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656741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1033583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2"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Tree>
    <p:extLst>
      <p:ext uri="{BB962C8B-B14F-4D97-AF65-F5344CB8AC3E}">
        <p14:creationId xmlns:p14="http://schemas.microsoft.com/office/powerpoint/2010/main" val="97796190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BDC5CF0B-5F52-49E1-A15C-4BAF95C2258A}"/>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2813492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78688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1534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71378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06798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77240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56CB190-4774-426D-9B9E-92D1A765595A}"/>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492991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67320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18664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22629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7798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17684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8392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01528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79045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75705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2715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7938115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5244" t="9591" r="17683" b="23336"/>
          <a:stretch/>
        </p:blipFill>
        <p:spPr>
          <a:xfrm>
            <a:off x="5334000" y="0"/>
            <a:ext cx="6858000" cy="6858000"/>
          </a:xfrm>
          <a:prstGeom prst="rect">
            <a:avLst/>
          </a:prstGeom>
        </p:spPr>
      </p:pic>
    </p:spTree>
    <p:extLst>
      <p:ext uri="{BB962C8B-B14F-4D97-AF65-F5344CB8AC3E}">
        <p14:creationId xmlns:p14="http://schemas.microsoft.com/office/powerpoint/2010/main" val="371932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66079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778949"/>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11665"/>
            <a:ext cx="11015474" cy="307777"/>
          </a:xfrm>
        </p:spPr>
        <p:txBody>
          <a:bodyPr/>
          <a:lstStyle>
            <a:lvl1pPr marL="0" indent="0">
              <a:spcBef>
                <a:spcPts val="1800"/>
              </a:spcBef>
              <a:spcAft>
                <a:spcPts val="0"/>
              </a:spcAft>
              <a:buNone/>
              <a:defRPr sz="200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46375518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2" y="457199"/>
            <a:ext cx="5507737" cy="780757"/>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1253345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35202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AFB7D37C-EEAE-4C0F-AC23-9CEB23881F17}"/>
              </a:ext>
            </a:extLst>
          </p:cNvPr>
          <p:cNvSpPr>
            <a:spLocks noGrp="1"/>
          </p:cNvSpPr>
          <p:nvPr>
            <p:ph type="body" sz="quarter" idx="13"/>
          </p:nvPr>
        </p:nvSpPr>
        <p:spPr>
          <a:xfrm>
            <a:off x="588263" y="1043564"/>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8938634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3840">
          <p15:clr>
            <a:srgbClr val="FBAE40"/>
          </p15:clr>
        </p15:guide>
        <p15:guide id="32" pos="1440">
          <p15:clr>
            <a:srgbClr val="FBAE40"/>
          </p15:clr>
        </p15:guide>
        <p15:guide id="33" pos="626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35275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7772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30251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52730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22F03626-05EB-442B-B3AE-641A0D990AC0}"/>
              </a:ext>
            </a:extLst>
          </p:cNvPr>
          <p:cNvSpPr>
            <a:spLocks noGrp="1"/>
          </p:cNvSpPr>
          <p:nvPr>
            <p:ph type="body" sz="quarter" idx="14"/>
          </p:nvPr>
        </p:nvSpPr>
        <p:spPr>
          <a:xfrm>
            <a:off x="75209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DD365DFC-A991-4A38-9F9E-A27B0EA0FCC1}"/>
              </a:ext>
            </a:extLst>
          </p:cNvPr>
          <p:cNvSpPr>
            <a:spLocks noGrp="1"/>
          </p:cNvSpPr>
          <p:nvPr>
            <p:ph type="body" sz="quarter" idx="15"/>
          </p:nvPr>
        </p:nvSpPr>
        <p:spPr>
          <a:xfrm>
            <a:off x="97688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8254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2424">
          <p15:clr>
            <a:srgbClr val="FBAE40"/>
          </p15:clr>
        </p15:guide>
        <p15:guide id="32" pos="1008">
          <p15:clr>
            <a:srgbClr val="FBAE40"/>
          </p15:clr>
        </p15:guide>
        <p15:guide id="33" pos="6672">
          <p15:clr>
            <a:srgbClr val="FBAE40"/>
          </p15:clr>
        </p15:guide>
        <p15:guide id="34" pos="5256">
          <p15:clr>
            <a:srgbClr val="FBAE40"/>
          </p15:clr>
        </p15:guide>
        <p15:guide id="35" pos="384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461245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55624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7285516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43564"/>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20438164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199"/>
            <a:ext cx="4936774" cy="1268570"/>
          </a:xfrm>
        </p:spPr>
        <p:txBody>
          <a:body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4200" y="2017713"/>
            <a:ext cx="4936774" cy="430887"/>
          </a:xfrm>
        </p:spPr>
        <p:txBody>
          <a:bodyPr/>
          <a:lstStyle>
            <a:lvl1pPr marL="0" indent="0">
              <a:spcBef>
                <a:spcPts val="1800"/>
              </a:spcBef>
              <a:spcAft>
                <a:spcPts val="0"/>
              </a:spcAft>
              <a:buNone/>
              <a:defRPr sz="2800">
                <a:solidFill>
                  <a:schemeClr val="accent1">
                    <a:lumMod val="60000"/>
                    <a:lumOff val="40000"/>
                  </a:schemeClr>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275085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6195309" cy="553998"/>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6046998" cy="1778949"/>
          </a:xfrm>
        </p:spPr>
        <p:txBody>
          <a:bodyPr/>
          <a:lstStyle>
            <a:lvl1pPr marL="0" indent="0">
              <a:spcBef>
                <a:spcPts val="1800"/>
              </a:spcBef>
              <a:spcAft>
                <a:spcPts val="0"/>
              </a:spcAft>
              <a:buNone/>
              <a:defRPr sz="2400">
                <a:solidFill>
                  <a:schemeClr val="accent2"/>
                </a:solidFill>
              </a:defRPr>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43564"/>
            <a:ext cx="6193596" cy="307777"/>
          </a:xfrm>
        </p:spPr>
        <p:txBody>
          <a:bodyPr/>
          <a:lstStyle>
            <a:lvl1pPr marL="0" indent="0" algn="l">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6634340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877437"/>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600"/>
              </a:spcBef>
              <a:spcAft>
                <a:spcPts val="600"/>
              </a:spcAft>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965684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12372475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8585" y="3179701"/>
            <a:ext cx="7710728" cy="498598"/>
          </a:xfrm>
          <a:noFill/>
        </p:spPr>
        <p:txBody>
          <a:bodyPr wrap="square"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93240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0349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399511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537164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46542384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50302"/>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22C05E05-2421-4436-913A-F55D8721D6B7}"/>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3977419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5507736" cy="1769715"/>
          </a:xfrm>
        </p:spPr>
        <p:txBody>
          <a:bodyPr/>
          <a:lstStyle>
            <a:lvl1pPr marL="0" indent="0">
              <a:spcBef>
                <a:spcPts val="1800"/>
              </a:spcBef>
              <a:spcAft>
                <a:spcPts val="0"/>
              </a:spcAft>
              <a:buNone/>
              <a:defRPr sz="2400"/>
            </a:lvl1pPr>
            <a:lvl2pPr marL="0" indent="0">
              <a:buNone/>
              <a:defRPr sz="1800"/>
            </a:lvl2pPr>
            <a:lvl3pPr marL="0" indent="0">
              <a:spcBef>
                <a:spcPts val="1200"/>
              </a:spcBef>
              <a:spcAft>
                <a:spcPts val="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6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38F41BE7-CD15-4EAB-A150-479F7C5DC9F7}"/>
              </a:ext>
            </a:extLst>
          </p:cNvPr>
          <p:cNvSpPr>
            <a:spLocks noGrp="1"/>
          </p:cNvSpPr>
          <p:nvPr>
            <p:ph type="body" sz="quarter" idx="11"/>
          </p:nvPr>
        </p:nvSpPr>
        <p:spPr>
          <a:xfrm>
            <a:off x="6715687" y="1970468"/>
            <a:ext cx="4589044" cy="1846659"/>
          </a:xfrm>
        </p:spPr>
        <p:txBody>
          <a:bodyPr/>
          <a:lstStyle>
            <a:lvl1pPr marL="0" indent="0">
              <a:spcBef>
                <a:spcPts val="1800"/>
              </a:spcBef>
              <a:spcAft>
                <a:spcPts val="0"/>
              </a:spcAft>
              <a:buNone/>
              <a:defRPr sz="2400">
                <a:solidFill>
                  <a:schemeClr val="accent2"/>
                </a:solidFill>
              </a:defRPr>
            </a:lvl1pPr>
            <a:lvl2pPr marL="0" indent="0">
              <a:spcAft>
                <a:spcPts val="600"/>
              </a:spcAft>
              <a:buNone/>
              <a:defRPr sz="1800"/>
            </a:lvl2pPr>
            <a:lvl3pPr marL="0" indent="0">
              <a:spcBef>
                <a:spcPts val="1200"/>
              </a:spcBef>
              <a:spcAft>
                <a:spcPts val="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6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82813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436688"/>
            <a:ext cx="4589044" cy="1677382"/>
          </a:xfrm>
        </p:spPr>
        <p:txBody>
          <a:bodyPr/>
          <a:lstStyle>
            <a:lvl1pPr marL="0" indent="0">
              <a:spcBef>
                <a:spcPts val="1800"/>
              </a:spcBef>
              <a:spcAft>
                <a:spcPts val="0"/>
              </a:spcAft>
              <a:buNone/>
              <a:defRPr sz="2400"/>
            </a:lvl1pPr>
            <a:lvl2pPr marL="0" indent="0">
              <a:buNone/>
              <a:defRPr sz="1800"/>
            </a:lvl2pPr>
            <a:lvl3pPr marL="0" indent="0">
              <a:spcBef>
                <a:spcPts val="1200"/>
              </a:spcBef>
              <a:spcAft>
                <a:spcPts val="0"/>
              </a:spcAft>
              <a:buNone/>
              <a:defRPr lang="en-US" sz="20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4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55932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199"/>
            <a:ext cx="5273082" cy="1176216"/>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3" y="2356834"/>
            <a:ext cx="5271623" cy="1403461"/>
          </a:xfrm>
        </p:spPr>
        <p:txBody>
          <a:bodyPr/>
          <a:lstStyle>
            <a:lvl1pPr marL="0" indent="0">
              <a:spcBef>
                <a:spcPts val="1800"/>
              </a:spcBef>
              <a:spcAft>
                <a:spcPts val="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633415"/>
            <a:ext cx="5271624" cy="533800"/>
          </a:xfrm>
        </p:spPr>
        <p:txBody>
          <a:bodyPr/>
          <a:lstStyle>
            <a:lvl1pPr marL="0" indent="0">
              <a:spcBef>
                <a:spcPts val="1800"/>
              </a:spcBef>
              <a:spcAft>
                <a:spcPts val="0"/>
              </a:spcAft>
              <a:buNone/>
              <a:defRPr sz="200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22919060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778949"/>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50302"/>
            <a:ext cx="11015474" cy="307777"/>
          </a:xfrm>
        </p:spPr>
        <p:txBody>
          <a:bodyPr/>
          <a:lstStyle>
            <a:lvl1pPr marL="0" indent="0">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23869021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1048843"/>
      </p:ext>
    </p:extLst>
  </p:cSld>
  <p:clrMapOvr>
    <a:masterClrMapping/>
  </p:clrMapOvr>
  <p:transition>
    <p:fade/>
  </p:transition>
  <p:hf hdr="0"/>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119902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32306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40918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2310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71850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39320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53898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3892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56674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807727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4506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00256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710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63997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535647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28135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18668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83089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811612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89321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19972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864218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60352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7032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73399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38878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1265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611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1055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1102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1440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525010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65930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9" indent="0" algn="ctr">
              <a:buNone/>
              <a:defRPr sz="2000"/>
            </a:lvl2pPr>
            <a:lvl3pPr marL="914317" indent="0" algn="ctr">
              <a:buNone/>
              <a:defRPr sz="1800"/>
            </a:lvl3pPr>
            <a:lvl4pPr marL="1371477" indent="0" algn="ctr">
              <a:buNone/>
              <a:defRPr sz="1600"/>
            </a:lvl4pPr>
            <a:lvl5pPr marL="1828635" indent="0" algn="ctr">
              <a:buNone/>
              <a:defRPr sz="1600"/>
            </a:lvl5pPr>
            <a:lvl6pPr marL="2285794" indent="0" algn="ctr">
              <a:buNone/>
              <a:defRPr sz="1600"/>
            </a:lvl6pPr>
            <a:lvl7pPr marL="2742953" indent="0" algn="ctr">
              <a:buNone/>
              <a:defRPr sz="1600"/>
            </a:lvl7pPr>
            <a:lvl8pPr marL="3200112" indent="0" algn="ctr">
              <a:buNone/>
              <a:defRPr sz="1600"/>
            </a:lvl8pPr>
            <a:lvl9pPr marL="3657271"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11/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6255241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12892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11/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18418538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9" indent="0">
              <a:buNone/>
              <a:defRPr sz="2000">
                <a:solidFill>
                  <a:schemeClr val="tx1">
                    <a:tint val="75000"/>
                  </a:schemeClr>
                </a:solidFill>
              </a:defRPr>
            </a:lvl2pPr>
            <a:lvl3pPr marL="914317" indent="0">
              <a:buNone/>
              <a:defRPr sz="1800">
                <a:solidFill>
                  <a:schemeClr val="tx1">
                    <a:tint val="75000"/>
                  </a:schemeClr>
                </a:solidFill>
              </a:defRPr>
            </a:lvl3pPr>
            <a:lvl4pPr marL="1371477" indent="0">
              <a:buNone/>
              <a:defRPr sz="1600">
                <a:solidFill>
                  <a:schemeClr val="tx1">
                    <a:tint val="75000"/>
                  </a:schemeClr>
                </a:solidFill>
              </a:defRPr>
            </a:lvl4pPr>
            <a:lvl5pPr marL="1828635" indent="0">
              <a:buNone/>
              <a:defRPr sz="1600">
                <a:solidFill>
                  <a:schemeClr val="tx1">
                    <a:tint val="75000"/>
                  </a:schemeClr>
                </a:solidFill>
              </a:defRPr>
            </a:lvl5pPr>
            <a:lvl6pPr marL="2285794" indent="0">
              <a:buNone/>
              <a:defRPr sz="1600">
                <a:solidFill>
                  <a:schemeClr val="tx1">
                    <a:tint val="75000"/>
                  </a:schemeClr>
                </a:solidFill>
              </a:defRPr>
            </a:lvl6pPr>
            <a:lvl7pPr marL="2742953" indent="0">
              <a:buNone/>
              <a:defRPr sz="1600">
                <a:solidFill>
                  <a:schemeClr val="tx1">
                    <a:tint val="75000"/>
                  </a:schemeClr>
                </a:solidFill>
              </a:defRPr>
            </a:lvl7pPr>
            <a:lvl8pPr marL="3200112" indent="0">
              <a:buNone/>
              <a:defRPr sz="1600">
                <a:solidFill>
                  <a:schemeClr val="tx1">
                    <a:tint val="75000"/>
                  </a:schemeClr>
                </a:solidFill>
              </a:defRPr>
            </a:lvl8pPr>
            <a:lvl9pPr marL="3657271"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609440-044B-2D45-B6F7-F47816152CA1}" type="datetimeFigureOut">
              <a:rPr lang="en-US" smtClean="0"/>
              <a:t>11/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190769334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B609440-044B-2D45-B6F7-F47816152CA1}" type="datetimeFigureOut">
              <a:rPr lang="en-US" smtClean="0"/>
              <a:t>11/2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37766724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9" indent="0">
              <a:buNone/>
              <a:defRPr sz="2000" b="1"/>
            </a:lvl2pPr>
            <a:lvl3pPr marL="914317" indent="0">
              <a:buNone/>
              <a:defRPr sz="1800" b="1"/>
            </a:lvl3pPr>
            <a:lvl4pPr marL="1371477" indent="0">
              <a:buNone/>
              <a:defRPr sz="1600" b="1"/>
            </a:lvl4pPr>
            <a:lvl5pPr marL="1828635" indent="0">
              <a:buNone/>
              <a:defRPr sz="1600" b="1"/>
            </a:lvl5pPr>
            <a:lvl6pPr marL="2285794" indent="0">
              <a:buNone/>
              <a:defRPr sz="1600" b="1"/>
            </a:lvl6pPr>
            <a:lvl7pPr marL="2742953" indent="0">
              <a:buNone/>
              <a:defRPr sz="1600" b="1"/>
            </a:lvl7pPr>
            <a:lvl8pPr marL="3200112" indent="0">
              <a:buNone/>
              <a:defRPr sz="1600" b="1"/>
            </a:lvl8pPr>
            <a:lvl9pPr marL="3657271"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9" indent="0">
              <a:buNone/>
              <a:defRPr sz="2000" b="1"/>
            </a:lvl2pPr>
            <a:lvl3pPr marL="914317" indent="0">
              <a:buNone/>
              <a:defRPr sz="1800" b="1"/>
            </a:lvl3pPr>
            <a:lvl4pPr marL="1371477" indent="0">
              <a:buNone/>
              <a:defRPr sz="1600" b="1"/>
            </a:lvl4pPr>
            <a:lvl5pPr marL="1828635" indent="0">
              <a:buNone/>
              <a:defRPr sz="1600" b="1"/>
            </a:lvl5pPr>
            <a:lvl6pPr marL="2285794" indent="0">
              <a:buNone/>
              <a:defRPr sz="1600" b="1"/>
            </a:lvl6pPr>
            <a:lvl7pPr marL="2742953" indent="0">
              <a:buNone/>
              <a:defRPr sz="1600" b="1"/>
            </a:lvl7pPr>
            <a:lvl8pPr marL="3200112" indent="0">
              <a:buNone/>
              <a:defRPr sz="1600" b="1"/>
            </a:lvl8pPr>
            <a:lvl9pPr marL="36572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B609440-044B-2D45-B6F7-F47816152CA1}" type="datetimeFigureOut">
              <a:rPr lang="en-US" smtClean="0"/>
              <a:t>11/23/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50072782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B609440-044B-2D45-B6F7-F47816152CA1}" type="datetimeFigureOut">
              <a:rPr lang="en-US" smtClean="0"/>
              <a:t>11/23/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7355242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609440-044B-2D45-B6F7-F47816152CA1}" type="datetimeFigureOut">
              <a:rPr lang="en-US" smtClean="0"/>
              <a:t>11/23/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125694643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199"/>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9" indent="0">
              <a:buNone/>
              <a:defRPr sz="1400"/>
            </a:lvl2pPr>
            <a:lvl3pPr marL="914317" indent="0">
              <a:buNone/>
              <a:defRPr sz="1200"/>
            </a:lvl3pPr>
            <a:lvl4pPr marL="1371477" indent="0">
              <a:buNone/>
              <a:defRPr sz="1000"/>
            </a:lvl4pPr>
            <a:lvl5pPr marL="1828635" indent="0">
              <a:buNone/>
              <a:defRPr sz="1000"/>
            </a:lvl5pPr>
            <a:lvl6pPr marL="2285794" indent="0">
              <a:buNone/>
              <a:defRPr sz="1000"/>
            </a:lvl6pPr>
            <a:lvl7pPr marL="2742953" indent="0">
              <a:buNone/>
              <a:defRPr sz="1000"/>
            </a:lvl7pPr>
            <a:lvl8pPr marL="3200112" indent="0">
              <a:buNone/>
              <a:defRPr sz="1000"/>
            </a:lvl8pPr>
            <a:lvl9pPr marL="365727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609440-044B-2D45-B6F7-F47816152CA1}" type="datetimeFigureOut">
              <a:rPr lang="en-US" smtClean="0"/>
              <a:t>11/2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106078400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59" indent="0">
              <a:buNone/>
              <a:defRPr sz="2800"/>
            </a:lvl2pPr>
            <a:lvl3pPr marL="914317" indent="0">
              <a:buNone/>
              <a:defRPr sz="2400"/>
            </a:lvl3pPr>
            <a:lvl4pPr marL="1371477" indent="0">
              <a:buNone/>
              <a:defRPr sz="2000"/>
            </a:lvl4pPr>
            <a:lvl5pPr marL="1828635" indent="0">
              <a:buNone/>
              <a:defRPr sz="2000"/>
            </a:lvl5pPr>
            <a:lvl6pPr marL="2285794" indent="0">
              <a:buNone/>
              <a:defRPr sz="2000"/>
            </a:lvl6pPr>
            <a:lvl7pPr marL="2742953" indent="0">
              <a:buNone/>
              <a:defRPr sz="2000"/>
            </a:lvl7pPr>
            <a:lvl8pPr marL="3200112" indent="0">
              <a:buNone/>
              <a:defRPr sz="2000"/>
            </a:lvl8pPr>
            <a:lvl9pPr marL="3657271"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9" indent="0">
              <a:buNone/>
              <a:defRPr sz="1400"/>
            </a:lvl2pPr>
            <a:lvl3pPr marL="914317" indent="0">
              <a:buNone/>
              <a:defRPr sz="1200"/>
            </a:lvl3pPr>
            <a:lvl4pPr marL="1371477" indent="0">
              <a:buNone/>
              <a:defRPr sz="1000"/>
            </a:lvl4pPr>
            <a:lvl5pPr marL="1828635" indent="0">
              <a:buNone/>
              <a:defRPr sz="1000"/>
            </a:lvl5pPr>
            <a:lvl6pPr marL="2285794" indent="0">
              <a:buNone/>
              <a:defRPr sz="1000"/>
            </a:lvl6pPr>
            <a:lvl7pPr marL="2742953" indent="0">
              <a:buNone/>
              <a:defRPr sz="1000"/>
            </a:lvl7pPr>
            <a:lvl8pPr marL="3200112" indent="0">
              <a:buNone/>
              <a:defRPr sz="1000"/>
            </a:lvl8pPr>
            <a:lvl9pPr marL="365727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609440-044B-2D45-B6F7-F47816152CA1}" type="datetimeFigureOut">
              <a:rPr lang="en-US" smtClean="0"/>
              <a:t>11/2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173296443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11/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96010475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11/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6283571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60874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098957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161684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3"/>
            <a:ext cx="7233415" cy="276871"/>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azure.com/</a:t>
            </a:r>
            <a:r>
              <a:rPr lang="en-US" sz="1176" err="1">
                <a:gradFill>
                  <a:gsLst>
                    <a:gs pos="0">
                      <a:schemeClr val="tx2"/>
                    </a:gs>
                    <a:gs pos="100000">
                      <a:schemeClr val="tx2"/>
                    </a:gs>
                  </a:gsLst>
                  <a:lin ang="5400000" scaled="1"/>
                </a:gradFill>
              </a:rPr>
              <a:t>cloudadoptionframework</a:t>
            </a:r>
            <a:endParaRPr lang="en-US" sz="1176">
              <a:gradFill>
                <a:gsLst>
                  <a:gs pos="0">
                    <a:schemeClr val="tx2"/>
                  </a:gs>
                  <a:gs pos="100000">
                    <a:schemeClr val="tx2"/>
                  </a:gs>
                </a:gsLst>
                <a:lin ang="5400000" scaled="1"/>
              </a:gradFill>
            </a:endParaRP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5"/>
            <a:ext cx="11400626" cy="196150"/>
          </a:xfrm>
          <a:prstGeom prst="rect">
            <a:avLst/>
          </a:prstGeom>
        </p:spPr>
        <p:txBody>
          <a:bodyPr wrap="squar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180349890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1090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197515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4555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48052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4562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79485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501206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5271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250481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65587149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24968325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17913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94970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4839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076271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282497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32327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4130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78079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75464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151703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698F7F0E-D4BF-47D5-893E-D6AD1A06C997}"/>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34774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907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43959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95549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12902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556390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83625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235210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127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039149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273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936629" y="6326674"/>
            <a:ext cx="986068" cy="191269"/>
          </a:xfrm>
          <a:prstGeom prst="rect">
            <a:avLst/>
          </a:prstGeom>
        </p:spPr>
      </p:pic>
      <p:sp>
        <p:nvSpPr>
          <p:cNvPr id="17" name="Rectangle 16"/>
          <p:cNvSpPr/>
          <p:nvPr userDrawn="1"/>
        </p:nvSpPr>
        <p:spPr bwMode="gray">
          <a:xfrm>
            <a:off x="269304" y="4232382"/>
            <a:ext cx="8142757" cy="2526445"/>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20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69304" y="4250840"/>
            <a:ext cx="8142757" cy="1643679"/>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69304" y="5894517"/>
            <a:ext cx="8142757" cy="864310"/>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617773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5"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6002431"/>
            <a:ext cx="1792850" cy="384107"/>
          </a:xfrm>
          <a:prstGeom prst="rect">
            <a:avLst/>
          </a:prstGeom>
        </p:spPr>
      </p:pic>
    </p:spTree>
    <p:extLst>
      <p:ext uri="{BB962C8B-B14F-4D97-AF65-F5344CB8AC3E}">
        <p14:creationId xmlns:p14="http://schemas.microsoft.com/office/powerpoint/2010/main" val="1830665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13"/>
            <a:ext cx="11655840" cy="609931"/>
          </a:xfrm>
        </p:spPr>
        <p:txBody>
          <a:bodyPr/>
          <a:lstStyle/>
          <a:p>
            <a:r>
              <a:rPr lang="en-US"/>
              <a:t>Click to edit Master title style</a:t>
            </a:r>
          </a:p>
        </p:txBody>
      </p:sp>
      <p:sp>
        <p:nvSpPr>
          <p:cNvPr id="6" name="Text Placeholder 5"/>
          <p:cNvSpPr>
            <a:spLocks noGrp="1"/>
          </p:cNvSpPr>
          <p:nvPr>
            <p:ph type="body" sz="quarter" idx="10"/>
          </p:nvPr>
        </p:nvSpPr>
        <p:spPr>
          <a:xfrm>
            <a:off x="269239" y="967825"/>
            <a:ext cx="11653523" cy="1714049"/>
          </a:xfrm>
        </p:spPr>
        <p:txBody>
          <a:bodyPr/>
          <a:lstStyle>
            <a:lvl1pPr marL="0" indent="0">
              <a:buNone/>
              <a:defRPr sz="1961">
                <a:solidFill>
                  <a:schemeClr val="accent5"/>
                </a:solidFill>
                <a:latin typeface="+mn-lt"/>
              </a:defRPr>
            </a:lvl1pPr>
            <a:lvl2pPr marL="0" indent="0">
              <a:buFontTx/>
              <a:buNone/>
              <a:defRPr sz="1961"/>
            </a:lvl2pPr>
            <a:lvl3pPr marL="224144" indent="0">
              <a:buNone/>
              <a:defRPr/>
            </a:lvl3pPr>
            <a:lvl4pPr marL="448290" indent="0">
              <a:buNone/>
              <a:defRPr/>
            </a:lvl4pPr>
            <a:lvl5pPr marL="6724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24291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44" indent="0">
              <a:buNone/>
              <a:defRPr/>
            </a:lvl3pPr>
            <a:lvl4pPr marL="448290" indent="0">
              <a:buNone/>
              <a:defRPr/>
            </a:lvl4pPr>
            <a:lvl5pPr marL="6724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557297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30">
                <a:solidFill>
                  <a:srgbClr val="0078D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619942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3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489881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30">
                <a:solidFill>
                  <a:srgbClr val="0078D7"/>
                </a:solidFill>
              </a:defRPr>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30">
                <a:solidFill>
                  <a:srgbClr val="0078D7"/>
                </a:solidFill>
              </a:defRPr>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046906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30"/>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30"/>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16547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2859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739" indent="-281739">
              <a:spcBef>
                <a:spcPts val="1200"/>
              </a:spcBef>
              <a:buClr>
                <a:schemeClr val="tx2"/>
              </a:buClr>
              <a:buFont typeface="Arial" pitchFamily="34" charset="0"/>
              <a:buChar char="•"/>
              <a:defRPr sz="3138">
                <a:gradFill>
                  <a:gsLst>
                    <a:gs pos="1250">
                      <a:schemeClr val="tx2"/>
                    </a:gs>
                    <a:gs pos="99000">
                      <a:schemeClr val="tx2"/>
                    </a:gs>
                  </a:gsLst>
                  <a:lin ang="5400000" scaled="0"/>
                </a:gradFill>
              </a:defRPr>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377940"/>
          </a:xfrm>
        </p:spPr>
        <p:txBody>
          <a:bodyPr wrap="square">
            <a:spAutoFit/>
          </a:bodyPr>
          <a:lstStyle>
            <a:lvl1pPr marL="281739" indent="-281739">
              <a:spcBef>
                <a:spcPts val="1200"/>
              </a:spcBef>
              <a:buClr>
                <a:schemeClr val="tx2"/>
              </a:buClr>
              <a:buFont typeface="Arial" pitchFamily="34" charset="0"/>
              <a:buChar char="•"/>
              <a:defRPr sz="3138">
                <a:gradFill>
                  <a:gsLst>
                    <a:gs pos="1250">
                      <a:schemeClr val="tx2"/>
                    </a:gs>
                    <a:gs pos="99000">
                      <a:schemeClr val="tx2"/>
                    </a:gs>
                  </a:gsLst>
                  <a:lin ang="5400000" scaled="0"/>
                </a:gradFill>
              </a:defRPr>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708619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739" indent="-281739">
              <a:spcBef>
                <a:spcPts val="1200"/>
              </a:spcBef>
              <a:buClr>
                <a:schemeClr val="tx1"/>
              </a:buClr>
              <a:buFont typeface="Arial" pitchFamily="34" charset="0"/>
              <a:buChar char="•"/>
              <a:defRPr sz="3138"/>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377940"/>
          </a:xfrm>
        </p:spPr>
        <p:txBody>
          <a:bodyPr wrap="square">
            <a:spAutoFit/>
          </a:bodyPr>
          <a:lstStyle>
            <a:lvl1pPr marL="281739" indent="-281739">
              <a:spcBef>
                <a:spcPts val="1200"/>
              </a:spcBef>
              <a:buClr>
                <a:schemeClr val="tx1"/>
              </a:buClr>
              <a:buFont typeface="Arial" pitchFamily="34" charset="0"/>
              <a:buChar char="•"/>
              <a:defRPr sz="3138"/>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692622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188759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60"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3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2317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24009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25200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3080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1068"/>
            <a:ext cx="11653523" cy="832882"/>
          </a:xfrm>
          <a:noFill/>
        </p:spPr>
        <p:txBody>
          <a:bodyPr tIns="91440" bIns="91440" anchor="t" anchorCtr="0">
            <a:spAutoFit/>
          </a:bodyPr>
          <a:lstStyle>
            <a:lvl1pPr>
              <a:defRPr sz="4706" spc="-98" baseline="0">
                <a:gradFill>
                  <a:gsLst>
                    <a:gs pos="100000">
                      <a:schemeClr val="tx1"/>
                    </a:gs>
                    <a:gs pos="0">
                      <a:schemeClr val="tx1"/>
                    </a:gs>
                  </a:gsLst>
                  <a:lin ang="5400000" scaled="0"/>
                </a:gradFill>
              </a:defRPr>
            </a:lvl1pPr>
          </a:lstStyle>
          <a:p>
            <a:r>
              <a:rPr lang="en-US"/>
              <a:t>Section title</a:t>
            </a:r>
          </a:p>
        </p:txBody>
      </p:sp>
      <p:sp>
        <p:nvSpPr>
          <p:cNvPr id="4" name="Text Placeholder 3">
            <a:extLst>
              <a:ext uri="{FF2B5EF4-FFF2-40B4-BE49-F238E27FC236}">
                <a16:creationId xmlns:a16="http://schemas.microsoft.com/office/drawing/2014/main" id="{2DA3D409-E8D5-4B0A-A473-0B9C35E4CEA4}"/>
              </a:ext>
            </a:extLst>
          </p:cNvPr>
          <p:cNvSpPr>
            <a:spLocks noGrp="1"/>
          </p:cNvSpPr>
          <p:nvPr>
            <p:ph type="body" sz="quarter" idx="10"/>
          </p:nvPr>
        </p:nvSpPr>
        <p:spPr>
          <a:xfrm>
            <a:off x="269239" y="1285213"/>
            <a:ext cx="11653523" cy="724246"/>
          </a:xfrm>
        </p:spPr>
        <p:txBody>
          <a:bodyPr/>
          <a:lstStyle>
            <a:lvl1pPr marL="560363" indent="-560363">
              <a:buFont typeface="Wingdings" panose="05000000000000000000" pitchFamily="2" charset="2"/>
              <a:buChar char="§"/>
              <a:defRPr/>
            </a:lvl1pPr>
            <a:lvl2pPr marL="336217" indent="0">
              <a:buNone/>
              <a:defRPr/>
            </a:lvl2pPr>
            <a:lvl3pPr marL="560363" indent="0">
              <a:buNone/>
              <a:defRPr/>
            </a:lvl3pPr>
            <a:lvl4pPr marL="784508" indent="0">
              <a:buNone/>
              <a:defRPr/>
            </a:lvl4pPr>
            <a:lvl5pPr marL="1008652" indent="0">
              <a:buNone/>
              <a:defRPr/>
            </a:lvl5pPr>
          </a:lstStyle>
          <a:p>
            <a:pPr lvl="0"/>
            <a:r>
              <a:rPr lang="en-US"/>
              <a:t>Edit Master text styles</a:t>
            </a:r>
          </a:p>
        </p:txBody>
      </p:sp>
    </p:spTree>
    <p:extLst>
      <p:ext uri="{BB962C8B-B14F-4D97-AF65-F5344CB8AC3E}">
        <p14:creationId xmlns:p14="http://schemas.microsoft.com/office/powerpoint/2010/main" val="186044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00990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99885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174021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179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9531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8779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7" tIns="45727" rIns="45727" bIns="45727" numCol="1" spcCol="0" rtlCol="0" fromWordArt="0" anchor="ctr" anchorCtr="0" forceAA="0" compatLnSpc="1">
            <a:prstTxWarp prst="textNoShape">
              <a:avLst/>
            </a:prstTxWarp>
            <a:noAutofit/>
          </a:bodyPr>
          <a:lstStyle/>
          <a:p>
            <a:pPr algn="ctr" defTabSz="914300"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21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5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590616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0061"/>
            <a:ext cx="11623331" cy="395317"/>
          </a:xfrm>
          <a:prstGeom prst="rect">
            <a:avLst/>
          </a:prstGeom>
          <a:noFill/>
          <a:ln w="12700">
            <a:noFill/>
            <a:miter lim="800000"/>
            <a:headEnd type="none" w="sm" len="sm"/>
            <a:tailEnd type="none" w="sm" len="sm"/>
          </a:ln>
          <a:effectLst/>
        </p:spPr>
        <p:txBody>
          <a:bodyPr vert="horz" wrap="square" lIns="179306" tIns="143444" rIns="179306" bIns="143444" numCol="1" anchor="t" anchorCtr="0" compatLnSpc="1">
            <a:prstTxWarp prst="textNoShape">
              <a:avLst/>
            </a:prstTxWarp>
            <a:spAutoFit/>
          </a:bodyPr>
          <a:lstStyle/>
          <a:p>
            <a:pPr defTabSz="914121" eaLnBrk="0" hangingPunct="0"/>
            <a:r>
              <a:rPr lang="en-US" sz="686">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4" y="3083653"/>
            <a:ext cx="3223861" cy="690694"/>
          </a:xfrm>
          <a:prstGeom prst="rect">
            <a:avLst/>
          </a:prstGeom>
        </p:spPr>
      </p:pic>
    </p:spTree>
    <p:extLst>
      <p:ext uri="{BB962C8B-B14F-4D97-AF65-F5344CB8AC3E}">
        <p14:creationId xmlns:p14="http://schemas.microsoft.com/office/powerpoint/2010/main" val="295104877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851" indent="-284851">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63" indent="-275513">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215" indent="-284851">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59" indent="-22414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503" indent="-22414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7013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6BCA0-4A09-4659-98F6-FFBECCE619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337FB-39CB-48CE-959C-4B9E27ED3E03}"/>
              </a:ext>
            </a:extLst>
          </p:cNvPr>
          <p:cNvSpPr>
            <a:spLocks noGrp="1"/>
          </p:cNvSpPr>
          <p:nvPr>
            <p:ph idx="1"/>
          </p:nvPr>
        </p:nvSpPr>
        <p:spPr>
          <a:xfrm>
            <a:off x="416013" y="1647570"/>
            <a:ext cx="11359978"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87A8442A-F008-4ECE-97CC-917D86E46A4A}"/>
              </a:ext>
            </a:extLst>
          </p:cNvPr>
          <p:cNvSpPr>
            <a:spLocks noGrp="1"/>
          </p:cNvSpPr>
          <p:nvPr>
            <p:ph type="body" sz="quarter" idx="13" hasCustomPrompt="1"/>
          </p:nvPr>
        </p:nvSpPr>
        <p:spPr>
          <a:xfrm>
            <a:off x="415925" y="1144588"/>
            <a:ext cx="11360150" cy="724246"/>
          </a:xfrm>
        </p:spPr>
        <p:txBody>
          <a:bodyPr/>
          <a:lstStyle>
            <a:lvl1pPr marL="0" indent="0">
              <a:buNone/>
              <a:defRPr>
                <a:solidFill>
                  <a:schemeClr val="accent3">
                    <a:lumMod val="50000"/>
                  </a:schemeClr>
                </a:solidFill>
              </a:defRPr>
            </a:lvl1pPr>
          </a:lstStyle>
          <a:p>
            <a:pPr lvl="0"/>
            <a:r>
              <a:rPr lang="en-US"/>
              <a:t>Subhead</a:t>
            </a:r>
          </a:p>
        </p:txBody>
      </p:sp>
      <p:pic>
        <p:nvPicPr>
          <p:cNvPr id="9" name="Picture 2" descr="Image result for microsoft azure logo">
            <a:extLst>
              <a:ext uri="{FF2B5EF4-FFF2-40B4-BE49-F238E27FC236}">
                <a16:creationId xmlns:a16="http://schemas.microsoft.com/office/drawing/2014/main" id="{0F0F6E89-1EF1-4154-99C8-B3A1C4ED78E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973058" y="117175"/>
            <a:ext cx="1097280" cy="232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59077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6" name="Title 5"/>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89929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20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9" y="4518928"/>
            <a:ext cx="6260678" cy="908775"/>
          </a:xfrm>
        </p:spPr>
        <p:txBody>
          <a:bodyPr anchor="t"/>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27333" y="3377106"/>
            <a:ext cx="6275850" cy="827791"/>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298"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1" y="243545"/>
            <a:ext cx="1629151" cy="599358"/>
          </a:xfrm>
          <a:prstGeom prst="rect">
            <a:avLst/>
          </a:prstGeom>
        </p:spPr>
      </p:pic>
    </p:spTree>
    <p:extLst>
      <p:ext uri="{BB962C8B-B14F-4D97-AF65-F5344CB8AC3E}">
        <p14:creationId xmlns:p14="http://schemas.microsoft.com/office/powerpoint/2010/main" val="2283878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spTree>
    <p:extLst>
      <p:ext uri="{BB962C8B-B14F-4D97-AF65-F5344CB8AC3E}">
        <p14:creationId xmlns:p14="http://schemas.microsoft.com/office/powerpoint/2010/main" val="1376060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207629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43984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553998"/>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77407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5" y="1154113"/>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6643256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9436336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58586" y="-1"/>
            <a:ext cx="6233414" cy="6858001"/>
          </a:xfrm>
          <a:prstGeom prst="rect">
            <a:avLst/>
          </a:prstGeom>
        </p:spPr>
      </p:pic>
    </p:spTree>
    <p:extLst>
      <p:ext uri="{BB962C8B-B14F-4D97-AF65-F5344CB8AC3E}">
        <p14:creationId xmlns:p14="http://schemas.microsoft.com/office/powerpoint/2010/main" val="176578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spTree>
    <p:extLst>
      <p:ext uri="{BB962C8B-B14F-4D97-AF65-F5344CB8AC3E}">
        <p14:creationId xmlns:p14="http://schemas.microsoft.com/office/powerpoint/2010/main" val="2334548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74216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6833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78824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865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96.xml"/><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theme" Target="../theme/theme10.xml"/><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5" Type="http://schemas.openxmlformats.org/officeDocument/2006/relationships/slideLayout" Target="../slideLayouts/slideLayout293.xml"/><Relationship Id="rId10" Type="http://schemas.openxmlformats.org/officeDocument/2006/relationships/slideLayout" Target="../slideLayouts/slideLayout298.xml"/><Relationship Id="rId4" Type="http://schemas.openxmlformats.org/officeDocument/2006/relationships/slideLayout" Target="../slideLayouts/slideLayout292.xml"/><Relationship Id="rId9" Type="http://schemas.openxmlformats.org/officeDocument/2006/relationships/slideLayout" Target="../slideLayouts/slideLayout29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image" Target="../media/image10.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theme" Target="../theme/theme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image" Target="../media/image13.png"/><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theme" Target="../theme/theme3.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8"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34" Type="http://schemas.openxmlformats.org/officeDocument/2006/relationships/theme" Target="../theme/theme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image" Target="../media/image1.emf"/><Relationship Id="rId8"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52.xml"/><Relationship Id="rId21" Type="http://schemas.openxmlformats.org/officeDocument/2006/relationships/slideLayout" Target="../slideLayouts/slideLayout147.xml"/><Relationship Id="rId34" Type="http://schemas.openxmlformats.org/officeDocument/2006/relationships/slideLayout" Target="../slideLayouts/slideLayout160.xml"/><Relationship Id="rId42" Type="http://schemas.openxmlformats.org/officeDocument/2006/relationships/slideLayout" Target="../slideLayouts/slideLayout168.xml"/><Relationship Id="rId47" Type="http://schemas.openxmlformats.org/officeDocument/2006/relationships/slideLayout" Target="../slideLayouts/slideLayout173.xml"/><Relationship Id="rId50" Type="http://schemas.openxmlformats.org/officeDocument/2006/relationships/slideLayout" Target="../slideLayouts/slideLayout176.xml"/><Relationship Id="rId55" Type="http://schemas.openxmlformats.org/officeDocument/2006/relationships/slideLayout" Target="../slideLayouts/slideLayout181.xml"/><Relationship Id="rId63" Type="http://schemas.openxmlformats.org/officeDocument/2006/relationships/slideLayout" Target="../slideLayouts/slideLayout189.xml"/><Relationship Id="rId68" Type="http://schemas.openxmlformats.org/officeDocument/2006/relationships/theme" Target="../theme/theme5.xml"/><Relationship Id="rId7" Type="http://schemas.openxmlformats.org/officeDocument/2006/relationships/slideLayout" Target="../slideLayouts/slideLayout13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9" Type="http://schemas.openxmlformats.org/officeDocument/2006/relationships/slideLayout" Target="../slideLayouts/slideLayout155.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slideLayout" Target="../slideLayouts/slideLayout158.xml"/><Relationship Id="rId37" Type="http://schemas.openxmlformats.org/officeDocument/2006/relationships/slideLayout" Target="../slideLayouts/slideLayout163.xml"/><Relationship Id="rId40" Type="http://schemas.openxmlformats.org/officeDocument/2006/relationships/slideLayout" Target="../slideLayouts/slideLayout166.xml"/><Relationship Id="rId45" Type="http://schemas.openxmlformats.org/officeDocument/2006/relationships/slideLayout" Target="../slideLayouts/slideLayout171.xml"/><Relationship Id="rId53" Type="http://schemas.openxmlformats.org/officeDocument/2006/relationships/slideLayout" Target="../slideLayouts/slideLayout179.xml"/><Relationship Id="rId58" Type="http://schemas.openxmlformats.org/officeDocument/2006/relationships/slideLayout" Target="../slideLayouts/slideLayout184.xml"/><Relationship Id="rId66" Type="http://schemas.openxmlformats.org/officeDocument/2006/relationships/slideLayout" Target="../slideLayouts/slideLayout192.xml"/><Relationship Id="rId5" Type="http://schemas.openxmlformats.org/officeDocument/2006/relationships/slideLayout" Target="../slideLayouts/slideLayout131.xml"/><Relationship Id="rId61" Type="http://schemas.openxmlformats.org/officeDocument/2006/relationships/slideLayout" Target="../slideLayouts/slideLayout187.xml"/><Relationship Id="rId19" Type="http://schemas.openxmlformats.org/officeDocument/2006/relationships/slideLayout" Target="../slideLayouts/slideLayout14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 Id="rId35" Type="http://schemas.openxmlformats.org/officeDocument/2006/relationships/slideLayout" Target="../slideLayouts/slideLayout161.xml"/><Relationship Id="rId43" Type="http://schemas.openxmlformats.org/officeDocument/2006/relationships/slideLayout" Target="../slideLayouts/slideLayout169.xml"/><Relationship Id="rId48" Type="http://schemas.openxmlformats.org/officeDocument/2006/relationships/slideLayout" Target="../slideLayouts/slideLayout174.xml"/><Relationship Id="rId56" Type="http://schemas.openxmlformats.org/officeDocument/2006/relationships/slideLayout" Target="../slideLayouts/slideLayout182.xml"/><Relationship Id="rId64" Type="http://schemas.openxmlformats.org/officeDocument/2006/relationships/slideLayout" Target="../slideLayouts/slideLayout190.xml"/><Relationship Id="rId8" Type="http://schemas.openxmlformats.org/officeDocument/2006/relationships/slideLayout" Target="../slideLayouts/slideLayout134.xml"/><Relationship Id="rId51" Type="http://schemas.openxmlformats.org/officeDocument/2006/relationships/slideLayout" Target="../slideLayouts/slideLayout177.xml"/><Relationship Id="rId3" Type="http://schemas.openxmlformats.org/officeDocument/2006/relationships/slideLayout" Target="../slideLayouts/slideLayout129.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33" Type="http://schemas.openxmlformats.org/officeDocument/2006/relationships/slideLayout" Target="../slideLayouts/slideLayout159.xml"/><Relationship Id="rId38" Type="http://schemas.openxmlformats.org/officeDocument/2006/relationships/slideLayout" Target="../slideLayouts/slideLayout164.xml"/><Relationship Id="rId46" Type="http://schemas.openxmlformats.org/officeDocument/2006/relationships/slideLayout" Target="../slideLayouts/slideLayout172.xml"/><Relationship Id="rId59" Type="http://schemas.openxmlformats.org/officeDocument/2006/relationships/slideLayout" Target="../slideLayouts/slideLayout185.xml"/><Relationship Id="rId67" Type="http://schemas.openxmlformats.org/officeDocument/2006/relationships/slideLayout" Target="../slideLayouts/slideLayout193.xml"/><Relationship Id="rId20" Type="http://schemas.openxmlformats.org/officeDocument/2006/relationships/slideLayout" Target="../slideLayouts/slideLayout146.xml"/><Relationship Id="rId41" Type="http://schemas.openxmlformats.org/officeDocument/2006/relationships/slideLayout" Target="../slideLayouts/slideLayout167.xml"/><Relationship Id="rId54" Type="http://schemas.openxmlformats.org/officeDocument/2006/relationships/slideLayout" Target="../slideLayouts/slideLayout180.xml"/><Relationship Id="rId62" Type="http://schemas.openxmlformats.org/officeDocument/2006/relationships/slideLayout" Target="../slideLayouts/slideLayout18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36" Type="http://schemas.openxmlformats.org/officeDocument/2006/relationships/slideLayout" Target="../slideLayouts/slideLayout162.xml"/><Relationship Id="rId49" Type="http://schemas.openxmlformats.org/officeDocument/2006/relationships/slideLayout" Target="../slideLayouts/slideLayout175.xml"/><Relationship Id="rId57" Type="http://schemas.openxmlformats.org/officeDocument/2006/relationships/slideLayout" Target="../slideLayouts/slideLayout183.xml"/><Relationship Id="rId10" Type="http://schemas.openxmlformats.org/officeDocument/2006/relationships/slideLayout" Target="../slideLayouts/slideLayout136.xml"/><Relationship Id="rId31" Type="http://schemas.openxmlformats.org/officeDocument/2006/relationships/slideLayout" Target="../slideLayouts/slideLayout157.xml"/><Relationship Id="rId44" Type="http://schemas.openxmlformats.org/officeDocument/2006/relationships/slideLayout" Target="../slideLayouts/slideLayout170.xml"/><Relationship Id="rId52" Type="http://schemas.openxmlformats.org/officeDocument/2006/relationships/slideLayout" Target="../slideLayouts/slideLayout178.xml"/><Relationship Id="rId60" Type="http://schemas.openxmlformats.org/officeDocument/2006/relationships/slideLayout" Target="../slideLayouts/slideLayout186.xml"/><Relationship Id="rId65" Type="http://schemas.openxmlformats.org/officeDocument/2006/relationships/slideLayout" Target="../slideLayouts/slideLayout191.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9" Type="http://schemas.openxmlformats.org/officeDocument/2006/relationships/slideLayout" Target="../slideLayouts/slideLayout1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image" Target="../media/image1.emf"/><Relationship Id="rId3" Type="http://schemas.openxmlformats.org/officeDocument/2006/relationships/slideLayout" Target="../slideLayouts/slideLayout196.xml"/><Relationship Id="rId21" Type="http://schemas.openxmlformats.org/officeDocument/2006/relationships/slideLayout" Target="../slideLayouts/slideLayout214.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theme" Target="../theme/theme6.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image" Target="../media/image1.emf"/><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theme" Target="../theme/theme7.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26" Type="http://schemas.openxmlformats.org/officeDocument/2006/relationships/theme" Target="../theme/theme8.xml"/><Relationship Id="rId3" Type="http://schemas.openxmlformats.org/officeDocument/2006/relationships/slideLayout" Target="../slideLayouts/slideLayout236.xml"/><Relationship Id="rId21" Type="http://schemas.openxmlformats.org/officeDocument/2006/relationships/slideLayout" Target="../slideLayouts/slideLayout254.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5" Type="http://schemas.openxmlformats.org/officeDocument/2006/relationships/slideLayout" Target="../slideLayouts/slideLayout258.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0" Type="http://schemas.openxmlformats.org/officeDocument/2006/relationships/slideLayout" Target="../slideLayouts/slideLayout253.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24" Type="http://schemas.openxmlformats.org/officeDocument/2006/relationships/slideLayout" Target="../slideLayouts/slideLayout257.xml"/><Relationship Id="rId5" Type="http://schemas.openxmlformats.org/officeDocument/2006/relationships/slideLayout" Target="../slideLayouts/slideLayout238.xml"/><Relationship Id="rId15" Type="http://schemas.openxmlformats.org/officeDocument/2006/relationships/slideLayout" Target="../slideLayouts/slideLayout248.xml"/><Relationship Id="rId23" Type="http://schemas.openxmlformats.org/officeDocument/2006/relationships/slideLayout" Target="../slideLayouts/slideLayout256.xml"/><Relationship Id="rId10" Type="http://schemas.openxmlformats.org/officeDocument/2006/relationships/slideLayout" Target="../slideLayouts/slideLayout243.xml"/><Relationship Id="rId19" Type="http://schemas.openxmlformats.org/officeDocument/2006/relationships/slideLayout" Target="../slideLayouts/slideLayout252.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 Id="rId22" Type="http://schemas.openxmlformats.org/officeDocument/2006/relationships/slideLayout" Target="../slideLayouts/slideLayout255.xml"/><Relationship Id="rId27"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26" Type="http://schemas.openxmlformats.org/officeDocument/2006/relationships/slideLayout" Target="../slideLayouts/slideLayout284.xml"/><Relationship Id="rId3" Type="http://schemas.openxmlformats.org/officeDocument/2006/relationships/slideLayout" Target="../slideLayouts/slideLayout261.xml"/><Relationship Id="rId21" Type="http://schemas.openxmlformats.org/officeDocument/2006/relationships/slideLayout" Target="../slideLayouts/slideLayout279.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slideLayout" Target="../slideLayouts/slideLayout283.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slideLayout" Target="../slideLayouts/slideLayout278.xml"/><Relationship Id="rId29" Type="http://schemas.openxmlformats.org/officeDocument/2006/relationships/slideLayout" Target="../slideLayouts/slideLayout287.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24" Type="http://schemas.openxmlformats.org/officeDocument/2006/relationships/slideLayout" Target="../slideLayouts/slideLayout282.xml"/><Relationship Id="rId32" Type="http://schemas.openxmlformats.org/officeDocument/2006/relationships/image" Target="../media/image1.emf"/><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slideLayout" Target="../slideLayouts/slideLayout281.xml"/><Relationship Id="rId28" Type="http://schemas.openxmlformats.org/officeDocument/2006/relationships/slideLayout" Target="../slideLayouts/slideLayout286.xml"/><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31" Type="http://schemas.openxmlformats.org/officeDocument/2006/relationships/theme" Target="../theme/theme9.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 Id="rId27" Type="http://schemas.openxmlformats.org/officeDocument/2006/relationships/slideLayout" Target="../slideLayouts/slideLayout285.xml"/><Relationship Id="rId30" Type="http://schemas.openxmlformats.org/officeDocument/2006/relationships/slideLayout" Target="../slideLayouts/slideLayout2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464501" y="2843774"/>
            <a:ext cx="6858000" cy="1170455"/>
          </a:xfrm>
          <a:prstGeom prst="rect">
            <a:avLst/>
          </a:prstGeom>
        </p:spPr>
      </p:pic>
    </p:spTree>
    <p:extLst>
      <p:ext uri="{BB962C8B-B14F-4D97-AF65-F5344CB8AC3E}">
        <p14:creationId xmlns:p14="http://schemas.microsoft.com/office/powerpoint/2010/main" val="26687481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767" r:id="rId34"/>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609440-044B-2D45-B6F7-F47816152CA1}" type="datetimeFigureOut">
              <a:rPr lang="en-US" smtClean="0"/>
              <a:t>11/23/2021</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F4792C-2F98-8B46-B53F-4905E874CF92}" type="slidenum">
              <a:rPr lang="en-US" smtClean="0"/>
              <a:t>‹#›</a:t>
            </a:fld>
            <a:endParaRPr lang="en-US"/>
          </a:p>
        </p:txBody>
      </p:sp>
    </p:spTree>
    <p:extLst>
      <p:ext uri="{BB962C8B-B14F-4D97-AF65-F5344CB8AC3E}">
        <p14:creationId xmlns:p14="http://schemas.microsoft.com/office/powerpoint/2010/main" val="2893447765"/>
      </p:ext>
    </p:extLst>
  </p:cSld>
  <p:clrMap bg1="lt1" tx1="dk1" bg2="lt2" tx2="dk2" accent1="accent1" accent2="accent2" accent3="accent3" accent4="accent4" accent5="accent5" accent6="accent6" hlink="hlink" folHlink="folHlink"/>
  <p:sldLayoutIdLst>
    <p:sldLayoutId id="2147493654" r:id="rId1"/>
    <p:sldLayoutId id="2147493655" r:id="rId2"/>
    <p:sldLayoutId id="2147493656" r:id="rId3"/>
    <p:sldLayoutId id="2147493657" r:id="rId4"/>
    <p:sldLayoutId id="2147493658" r:id="rId5"/>
    <p:sldLayoutId id="2147493659" r:id="rId6"/>
    <p:sldLayoutId id="2147493660" r:id="rId7"/>
    <p:sldLayoutId id="2147493661" r:id="rId8"/>
    <p:sldLayoutId id="2147493662" r:id="rId9"/>
    <p:sldLayoutId id="2147493663" r:id="rId10"/>
    <p:sldLayoutId id="2147493664" r:id="rId11"/>
  </p:sldLayoutIdLst>
  <p:txStyles>
    <p:titleStyle>
      <a:lvl1pPr algn="l" defTabSz="914317"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79" indent="-228579" algn="l" defTabSz="91431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8" indent="-228579" algn="l" defTabSz="9143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7" indent="-228579" algn="l" defTabSz="9143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6"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5"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3"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3"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1"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0"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7" rtl="0" eaLnBrk="1" latinLnBrk="0" hangingPunct="1">
        <a:defRPr sz="1800" kern="1200">
          <a:solidFill>
            <a:schemeClr val="tx1"/>
          </a:solidFill>
          <a:latin typeface="+mn-lt"/>
          <a:ea typeface="+mn-ea"/>
          <a:cs typeface="+mn-cs"/>
        </a:defRPr>
      </a:lvl1pPr>
      <a:lvl2pPr marL="457159" algn="l" defTabSz="914317" rtl="0" eaLnBrk="1" latinLnBrk="0" hangingPunct="1">
        <a:defRPr sz="1800" kern="1200">
          <a:solidFill>
            <a:schemeClr val="tx1"/>
          </a:solidFill>
          <a:latin typeface="+mn-lt"/>
          <a:ea typeface="+mn-ea"/>
          <a:cs typeface="+mn-cs"/>
        </a:defRPr>
      </a:lvl2pPr>
      <a:lvl3pPr marL="914317" algn="l" defTabSz="914317" rtl="0" eaLnBrk="1" latinLnBrk="0" hangingPunct="1">
        <a:defRPr sz="1800" kern="1200">
          <a:solidFill>
            <a:schemeClr val="tx1"/>
          </a:solidFill>
          <a:latin typeface="+mn-lt"/>
          <a:ea typeface="+mn-ea"/>
          <a:cs typeface="+mn-cs"/>
        </a:defRPr>
      </a:lvl3pPr>
      <a:lvl4pPr marL="1371477" algn="l" defTabSz="914317" rtl="0" eaLnBrk="1" latinLnBrk="0" hangingPunct="1">
        <a:defRPr sz="1800" kern="1200">
          <a:solidFill>
            <a:schemeClr val="tx1"/>
          </a:solidFill>
          <a:latin typeface="+mn-lt"/>
          <a:ea typeface="+mn-ea"/>
          <a:cs typeface="+mn-cs"/>
        </a:defRPr>
      </a:lvl4pPr>
      <a:lvl5pPr marL="1828635" algn="l" defTabSz="914317" rtl="0" eaLnBrk="1" latinLnBrk="0" hangingPunct="1">
        <a:defRPr sz="1800" kern="1200">
          <a:solidFill>
            <a:schemeClr val="tx1"/>
          </a:solidFill>
          <a:latin typeface="+mn-lt"/>
          <a:ea typeface="+mn-ea"/>
          <a:cs typeface="+mn-cs"/>
        </a:defRPr>
      </a:lvl5pPr>
      <a:lvl6pPr marL="2285794" algn="l" defTabSz="914317" rtl="0" eaLnBrk="1" latinLnBrk="0" hangingPunct="1">
        <a:defRPr sz="1800" kern="1200">
          <a:solidFill>
            <a:schemeClr val="tx1"/>
          </a:solidFill>
          <a:latin typeface="+mn-lt"/>
          <a:ea typeface="+mn-ea"/>
          <a:cs typeface="+mn-cs"/>
        </a:defRPr>
      </a:lvl6pPr>
      <a:lvl7pPr marL="2742953" algn="l" defTabSz="914317" rtl="0" eaLnBrk="1" latinLnBrk="0" hangingPunct="1">
        <a:defRPr sz="1800" kern="1200">
          <a:solidFill>
            <a:schemeClr val="tx1"/>
          </a:solidFill>
          <a:latin typeface="+mn-lt"/>
          <a:ea typeface="+mn-ea"/>
          <a:cs typeface="+mn-cs"/>
        </a:defRPr>
      </a:lvl7pPr>
      <a:lvl8pPr marL="3200112" algn="l" defTabSz="914317" rtl="0" eaLnBrk="1" latinLnBrk="0" hangingPunct="1">
        <a:defRPr sz="1800" kern="1200">
          <a:solidFill>
            <a:schemeClr val="tx1"/>
          </a:solidFill>
          <a:latin typeface="+mn-lt"/>
          <a:ea typeface="+mn-ea"/>
          <a:cs typeface="+mn-cs"/>
        </a:defRPr>
      </a:lvl8pPr>
      <a:lvl9pPr marL="3657271" algn="l" defTabSz="91431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913721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 id="2147483768"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2"/>
            <a:ext cx="11655840" cy="60965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963482"/>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3" name="TextBox 2">
            <a:extLst>
              <a:ext uri="{FF2B5EF4-FFF2-40B4-BE49-F238E27FC236}">
                <a16:creationId xmlns:a16="http://schemas.microsoft.com/office/drawing/2014/main" id="{33E22E6D-E0A9-4DF2-BB13-2DCB8B1721E7}"/>
              </a:ext>
            </a:extLst>
          </p:cNvPr>
          <p:cNvSpPr txBox="1"/>
          <p:nvPr userDrawn="1"/>
        </p:nvSpPr>
        <p:spPr>
          <a:xfrm>
            <a:off x="10653408" y="6492220"/>
            <a:ext cx="1568944" cy="425495"/>
          </a:xfrm>
          <a:prstGeom prst="rect">
            <a:avLst/>
          </a:prstGeom>
          <a:noFill/>
        </p:spPr>
        <p:txBody>
          <a:bodyPr wrap="square" lIns="179306" tIns="143444" rIns="179306" bIns="143444" rtlCol="0">
            <a:spAutoFit/>
          </a:bodyPr>
          <a:lstStyle/>
          <a:p>
            <a:pPr algn="r">
              <a:lnSpc>
                <a:spcPct val="90000"/>
              </a:lnSpc>
              <a:spcAft>
                <a:spcPts val="588"/>
              </a:spcAft>
            </a:pPr>
            <a:fld id="{E308381E-DE8E-41CE-9FAF-FBB74049FFFE}" type="slidenum">
              <a:rPr lang="en-US" sz="981" smtClean="0">
                <a:solidFill>
                  <a:schemeClr val="bg1">
                    <a:lumMod val="75000"/>
                  </a:schemeClr>
                </a:solidFill>
              </a:rPr>
              <a:pPr algn="r">
                <a:lnSpc>
                  <a:spcPct val="90000"/>
                </a:lnSpc>
                <a:spcAft>
                  <a:spcPts val="588"/>
                </a:spcAft>
              </a:pPr>
              <a:t>‹#›</a:t>
            </a:fld>
            <a:endParaRPr lang="en-US" sz="981" err="1">
              <a:solidFill>
                <a:schemeClr val="bg1">
                  <a:lumMod val="75000"/>
                </a:schemeClr>
              </a:solidFill>
            </a:endParaRPr>
          </a:p>
        </p:txBody>
      </p:sp>
    </p:spTree>
    <p:extLst>
      <p:ext uri="{BB962C8B-B14F-4D97-AF65-F5344CB8AC3E}">
        <p14:creationId xmlns:p14="http://schemas.microsoft.com/office/powerpoint/2010/main" val="4023036029"/>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 id="2147483766" r:id="rId32"/>
  </p:sldLayoutIdLst>
  <p:transition>
    <p:fade/>
  </p:transition>
  <p:hf hdr="0" ftr="0" dt="0"/>
  <p:txStyles>
    <p:titleStyle>
      <a:lvl1pPr algn="l" defTabSz="914565" rtl="0" eaLnBrk="1" latinLnBrk="0" hangingPunct="1">
        <a:lnSpc>
          <a:spcPct val="90000"/>
        </a:lnSpc>
        <a:spcBef>
          <a:spcPct val="0"/>
        </a:spcBef>
        <a:buNone/>
        <a:defRPr lang="en-US" sz="392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217" marR="0" indent="-336217" algn="l" defTabSz="914565"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815" marR="0" indent="-236598" algn="l" defTabSz="91456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508"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652"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797"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5052"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335"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617"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900"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565" rtl="0" eaLnBrk="1" latinLnBrk="0" hangingPunct="1">
        <a:defRPr sz="1765" kern="1200">
          <a:solidFill>
            <a:schemeClr val="tx1"/>
          </a:solidFill>
          <a:latin typeface="+mn-lt"/>
          <a:ea typeface="+mn-ea"/>
          <a:cs typeface="+mn-cs"/>
        </a:defRPr>
      </a:lvl1pPr>
      <a:lvl2pPr marL="457283" algn="l" defTabSz="914565" rtl="0" eaLnBrk="1" latinLnBrk="0" hangingPunct="1">
        <a:defRPr sz="1765" kern="1200">
          <a:solidFill>
            <a:schemeClr val="tx1"/>
          </a:solidFill>
          <a:latin typeface="+mn-lt"/>
          <a:ea typeface="+mn-ea"/>
          <a:cs typeface="+mn-cs"/>
        </a:defRPr>
      </a:lvl2pPr>
      <a:lvl3pPr marL="914565" algn="l" defTabSz="914565" rtl="0" eaLnBrk="1" latinLnBrk="0" hangingPunct="1">
        <a:defRPr sz="1765" kern="1200">
          <a:solidFill>
            <a:schemeClr val="tx1"/>
          </a:solidFill>
          <a:latin typeface="+mn-lt"/>
          <a:ea typeface="+mn-ea"/>
          <a:cs typeface="+mn-cs"/>
        </a:defRPr>
      </a:lvl3pPr>
      <a:lvl4pPr marL="1371846" algn="l" defTabSz="914565" rtl="0" eaLnBrk="1" latinLnBrk="0" hangingPunct="1">
        <a:defRPr sz="1765" kern="1200">
          <a:solidFill>
            <a:schemeClr val="tx1"/>
          </a:solidFill>
          <a:latin typeface="+mn-lt"/>
          <a:ea typeface="+mn-ea"/>
          <a:cs typeface="+mn-cs"/>
        </a:defRPr>
      </a:lvl4pPr>
      <a:lvl5pPr marL="1829129" algn="l" defTabSz="914565" rtl="0" eaLnBrk="1" latinLnBrk="0" hangingPunct="1">
        <a:defRPr sz="1765" kern="1200">
          <a:solidFill>
            <a:schemeClr val="tx1"/>
          </a:solidFill>
          <a:latin typeface="+mn-lt"/>
          <a:ea typeface="+mn-ea"/>
          <a:cs typeface="+mn-cs"/>
        </a:defRPr>
      </a:lvl5pPr>
      <a:lvl6pPr marL="2286412" algn="l" defTabSz="914565" rtl="0" eaLnBrk="1" latinLnBrk="0" hangingPunct="1">
        <a:defRPr sz="1765" kern="1200">
          <a:solidFill>
            <a:schemeClr val="tx1"/>
          </a:solidFill>
          <a:latin typeface="+mn-lt"/>
          <a:ea typeface="+mn-ea"/>
          <a:cs typeface="+mn-cs"/>
        </a:defRPr>
      </a:lvl6pPr>
      <a:lvl7pPr marL="2743694" algn="l" defTabSz="914565" rtl="0" eaLnBrk="1" latinLnBrk="0" hangingPunct="1">
        <a:defRPr sz="1765" kern="1200">
          <a:solidFill>
            <a:schemeClr val="tx1"/>
          </a:solidFill>
          <a:latin typeface="+mn-lt"/>
          <a:ea typeface="+mn-ea"/>
          <a:cs typeface="+mn-cs"/>
        </a:defRPr>
      </a:lvl7pPr>
      <a:lvl8pPr marL="3200976" algn="l" defTabSz="914565" rtl="0" eaLnBrk="1" latinLnBrk="0" hangingPunct="1">
        <a:defRPr sz="1765" kern="1200">
          <a:solidFill>
            <a:schemeClr val="tx1"/>
          </a:solidFill>
          <a:latin typeface="+mn-lt"/>
          <a:ea typeface="+mn-ea"/>
          <a:cs typeface="+mn-cs"/>
        </a:defRPr>
      </a:lvl8pPr>
      <a:lvl9pPr marL="3658258" algn="l" defTabSz="914565"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cstate="screen">
            <a:extLst>
              <a:ext uri="{28A0092B-C50C-407E-A947-70E740481C1C}">
                <a14:useLocalDpi xmlns:a14="http://schemas.microsoft.com/office/drawing/2010/main"/>
              </a:ext>
            </a:extLst>
          </a:blip>
          <a:srcRect l="762"/>
          <a:stretch/>
        </p:blipFill>
        <p:spPr>
          <a:xfrm rot="5400000">
            <a:off x="9464501" y="2843774"/>
            <a:ext cx="6858000" cy="1170455"/>
          </a:xfrm>
          <a:prstGeom prst="rect">
            <a:avLst/>
          </a:prstGeom>
        </p:spPr>
      </p:pic>
    </p:spTree>
    <p:extLst>
      <p:ext uri="{BB962C8B-B14F-4D97-AF65-F5344CB8AC3E}">
        <p14:creationId xmlns:p14="http://schemas.microsoft.com/office/powerpoint/2010/main" val="2799483490"/>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58" r:id="rId12"/>
    <p:sldLayoutId id="2147483959" r:id="rId13"/>
    <p:sldLayoutId id="2147483960" r:id="rId14"/>
    <p:sldLayoutId id="2147483961" r:id="rId15"/>
    <p:sldLayoutId id="2147483962" r:id="rId16"/>
    <p:sldLayoutId id="2147483963" r:id="rId17"/>
    <p:sldLayoutId id="2147483964" r:id="rId18"/>
    <p:sldLayoutId id="2147483965" r:id="rId19"/>
    <p:sldLayoutId id="2147483966" r:id="rId20"/>
    <p:sldLayoutId id="2147483967" r:id="rId21"/>
    <p:sldLayoutId id="2147483968" r:id="rId22"/>
    <p:sldLayoutId id="2147483969" r:id="rId23"/>
    <p:sldLayoutId id="2147483970" r:id="rId24"/>
    <p:sldLayoutId id="2147483971" r:id="rId25"/>
    <p:sldLayoutId id="2147483972" r:id="rId26"/>
    <p:sldLayoutId id="2147483973" r:id="rId27"/>
    <p:sldLayoutId id="2147483974" r:id="rId28"/>
    <p:sldLayoutId id="2147483975" r:id="rId29"/>
    <p:sldLayoutId id="2147483976" r:id="rId30"/>
    <p:sldLayoutId id="2147483977" r:id="rId31"/>
    <p:sldLayoutId id="2147483978" r:id="rId32"/>
    <p:sldLayoutId id="2147483932" r:id="rId33"/>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endParaRPr lang="en-IN"/>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517239190"/>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 id="2147484098" r:id="rId26"/>
    <p:sldLayoutId id="2147484099" r:id="rId27"/>
    <p:sldLayoutId id="2147484100" r:id="rId28"/>
    <p:sldLayoutId id="2147484101" r:id="rId29"/>
    <p:sldLayoutId id="2147484102" r:id="rId30"/>
    <p:sldLayoutId id="2147484103" r:id="rId31"/>
    <p:sldLayoutId id="2147484104" r:id="rId32"/>
    <p:sldLayoutId id="2147484105" r:id="rId33"/>
    <p:sldLayoutId id="2147484106" r:id="rId34"/>
    <p:sldLayoutId id="2147484107" r:id="rId35"/>
    <p:sldLayoutId id="2147484108" r:id="rId36"/>
    <p:sldLayoutId id="2147484109" r:id="rId37"/>
    <p:sldLayoutId id="2147484110" r:id="rId38"/>
    <p:sldLayoutId id="2147484111" r:id="rId39"/>
    <p:sldLayoutId id="2147484112" r:id="rId40"/>
    <p:sldLayoutId id="2147484113" r:id="rId41"/>
    <p:sldLayoutId id="2147484114" r:id="rId42"/>
    <p:sldLayoutId id="2147484115" r:id="rId43"/>
    <p:sldLayoutId id="2147484116" r:id="rId44"/>
    <p:sldLayoutId id="2147484117" r:id="rId45"/>
    <p:sldLayoutId id="2147484118" r:id="rId46"/>
    <p:sldLayoutId id="2147484119" r:id="rId47"/>
    <p:sldLayoutId id="2147484120" r:id="rId48"/>
    <p:sldLayoutId id="2147484121" r:id="rId49"/>
    <p:sldLayoutId id="2147484122" r:id="rId50"/>
    <p:sldLayoutId id="2147484123" r:id="rId51"/>
    <p:sldLayoutId id="2147484124" r:id="rId52"/>
    <p:sldLayoutId id="2147484125" r:id="rId53"/>
    <p:sldLayoutId id="2147484126" r:id="rId54"/>
    <p:sldLayoutId id="2147484127" r:id="rId55"/>
    <p:sldLayoutId id="2147484128" r:id="rId56"/>
    <p:sldLayoutId id="2147484129" r:id="rId57"/>
    <p:sldLayoutId id="2147484130" r:id="rId58"/>
    <p:sldLayoutId id="2147484131" r:id="rId59"/>
    <p:sldLayoutId id="2147484132" r:id="rId60"/>
    <p:sldLayoutId id="2147484133" r:id="rId61"/>
    <p:sldLayoutId id="2147484135" r:id="rId62"/>
    <p:sldLayoutId id="2147484136" r:id="rId63"/>
    <p:sldLayoutId id="2147484137" r:id="rId64"/>
    <p:sldLayoutId id="2147484138" r:id="rId65"/>
    <p:sldLayoutId id="2147484139" r:id="rId66"/>
    <p:sldLayoutId id="2147484140" r:id="rId6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6"/>
          <a:srcRect l="762"/>
          <a:stretch/>
        </p:blipFill>
        <p:spPr>
          <a:xfrm rot="5400000">
            <a:off x="9464500" y="2843775"/>
            <a:ext cx="6858000" cy="1170455"/>
          </a:xfrm>
          <a:prstGeom prst="rect">
            <a:avLst/>
          </a:prstGeom>
        </p:spPr>
      </p:pic>
    </p:spTree>
    <p:extLst>
      <p:ext uri="{BB962C8B-B14F-4D97-AF65-F5344CB8AC3E}">
        <p14:creationId xmlns:p14="http://schemas.microsoft.com/office/powerpoint/2010/main" val="2925714890"/>
      </p:ext>
    </p:extLst>
  </p:cSld>
  <p:clrMap bg1="dk1" tx1="lt1" bg2="dk2" tx2="lt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 id="2147484271" r:id="rId9"/>
    <p:sldLayoutId id="2147484272" r:id="rId10"/>
    <p:sldLayoutId id="2147484273" r:id="rId11"/>
    <p:sldLayoutId id="2147484274" r:id="rId12"/>
    <p:sldLayoutId id="2147484275" r:id="rId13"/>
    <p:sldLayoutId id="2147484276" r:id="rId14"/>
    <p:sldLayoutId id="2147484277" r:id="rId15"/>
    <p:sldLayoutId id="2147484278" r:id="rId16"/>
    <p:sldLayoutId id="2147484279" r:id="rId17"/>
    <p:sldLayoutId id="2147484280" r:id="rId18"/>
    <p:sldLayoutId id="2147484281" r:id="rId19"/>
    <p:sldLayoutId id="2147484282" r:id="rId20"/>
    <p:sldLayoutId id="2147484283" r:id="rId21"/>
    <p:sldLayoutId id="2147484284" r:id="rId22"/>
    <p:sldLayoutId id="2147484285" r:id="rId23"/>
    <p:sldLayoutId id="2147484286" r:id="rId24"/>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1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0443835"/>
      </p:ext>
    </p:extLst>
  </p:cSld>
  <p:clrMap bg1="dk1" tx1="lt1" bg2="dk2" tx2="lt2" accent1="accent1" accent2="accent2" accent3="accent3" accent4="accent4" accent5="accent5" accent6="accent6" hlink="hlink" folHlink="folHlink"/>
  <p:sldLayoutIdLst>
    <p:sldLayoutId id="2147484244" r:id="rId1"/>
    <p:sldLayoutId id="2147484245" r:id="rId2"/>
    <p:sldLayoutId id="2147484246" r:id="rId3"/>
    <p:sldLayoutId id="2147484247" r:id="rId4"/>
    <p:sldLayoutId id="2147484248" r:id="rId5"/>
    <p:sldLayoutId id="2147484249" r:id="rId6"/>
    <p:sldLayoutId id="2147484250" r:id="rId7"/>
    <p:sldLayoutId id="2147484251" r:id="rId8"/>
    <p:sldLayoutId id="2147484252" r:id="rId9"/>
    <p:sldLayoutId id="2147484253" r:id="rId10"/>
    <p:sldLayoutId id="2147484254" r:id="rId11"/>
    <p:sldLayoutId id="2147484255" r:id="rId12"/>
    <p:sldLayoutId id="2147484256" r:id="rId13"/>
    <p:sldLayoutId id="2147484257" r:id="rId14"/>
    <p:sldLayoutId id="2147484258" r:id="rId15"/>
    <p:sldLayoutId id="2147484259"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619121194"/>
      </p:ext>
    </p:extLst>
  </p:cSld>
  <p:clrMap bg1="dk1" tx1="lt1" bg2="dk2" tx2="lt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 id="2147484242"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67667780"/>
      </p:ext>
    </p:extLst>
  </p:cSld>
  <p:clrMap bg1="dk1" tx1="lt1" bg2="dk2" tx2="lt2" accent1="accent1" accent2="accent2" accent3="accent3" accent4="accent4" accent5="accent5" accent6="accent6" hlink="hlink" folHlink="folHlink"/>
  <p:sldLayoutIdLst>
    <p:sldLayoutId id="2147493623" r:id="rId1"/>
    <p:sldLayoutId id="2147493624" r:id="rId2"/>
    <p:sldLayoutId id="2147493625" r:id="rId3"/>
    <p:sldLayoutId id="2147493626" r:id="rId4"/>
    <p:sldLayoutId id="2147493627" r:id="rId5"/>
    <p:sldLayoutId id="2147493628" r:id="rId6"/>
    <p:sldLayoutId id="2147493629" r:id="rId7"/>
    <p:sldLayoutId id="2147493630" r:id="rId8"/>
    <p:sldLayoutId id="2147493631" r:id="rId9"/>
    <p:sldLayoutId id="2147493632" r:id="rId10"/>
    <p:sldLayoutId id="2147493633" r:id="rId11"/>
    <p:sldLayoutId id="2147493634" r:id="rId12"/>
    <p:sldLayoutId id="2147493635" r:id="rId13"/>
    <p:sldLayoutId id="2147493636" r:id="rId14"/>
    <p:sldLayoutId id="2147493637" r:id="rId15"/>
    <p:sldLayoutId id="2147493638" r:id="rId16"/>
    <p:sldLayoutId id="2147493639" r:id="rId17"/>
    <p:sldLayoutId id="2147493640" r:id="rId18"/>
    <p:sldLayoutId id="2147493641" r:id="rId19"/>
    <p:sldLayoutId id="2147493642" r:id="rId20"/>
    <p:sldLayoutId id="2147493643" r:id="rId21"/>
    <p:sldLayoutId id="2147493644" r:id="rId22"/>
    <p:sldLayoutId id="2147493645" r:id="rId23"/>
    <p:sldLayoutId id="2147493646" r:id="rId24"/>
    <p:sldLayoutId id="2147493647" r:id="rId25"/>
    <p:sldLayoutId id="2147493648" r:id="rId26"/>
    <p:sldLayoutId id="2147493649" r:id="rId27"/>
    <p:sldLayoutId id="2147493650" r:id="rId28"/>
    <p:sldLayoutId id="2147493651" r:id="rId29"/>
    <p:sldLayoutId id="2147493652"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8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5.xml"/></Relationships>
</file>

<file path=ppt/slides/_rels/slide1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2.xml"/><Relationship Id="rId1" Type="http://schemas.openxmlformats.org/officeDocument/2006/relationships/slideLayout" Target="../slideLayouts/slideLayout167.xml"/><Relationship Id="rId6" Type="http://schemas.openxmlformats.org/officeDocument/2006/relationships/image" Target="../media/image30.wmf"/><Relationship Id="rId5" Type="http://schemas.openxmlformats.org/officeDocument/2006/relationships/image" Target="../media/image29.wmf"/><Relationship Id="rId4" Type="http://schemas.openxmlformats.org/officeDocument/2006/relationships/image" Target="../media/image28.wmf"/></Relationships>
</file>

<file path=ppt/slides/_rels/slide1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3.xml"/><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slideLayout" Target="../slideLayouts/slideLayout167.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8" Type="http://schemas.openxmlformats.org/officeDocument/2006/relationships/tags" Target="../tags/tag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notesSlide" Target="../notesSlides/notesSlide2.xml"/><Relationship Id="rId20" Type="http://schemas.openxmlformats.org/officeDocument/2006/relationships/tags" Target="../tags/tag20.xml"/><Relationship Id="rId41" Type="http://schemas.openxmlformats.org/officeDocument/2006/relationships/tags" Target="../tags/tag41.xml"/></Relationships>
</file>

<file path=ppt/slides/_rels/slide4.xml.rels><?xml version="1.0" encoding="UTF-8" standalone="yes"?>
<Relationships xmlns="http://schemas.openxmlformats.org/package/2006/relationships"><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tags" Target="../tags/tag70.xml"/><Relationship Id="rId39" Type="http://schemas.openxmlformats.org/officeDocument/2006/relationships/tags" Target="../tags/tag83.xml"/><Relationship Id="rId21" Type="http://schemas.openxmlformats.org/officeDocument/2006/relationships/tags" Target="../tags/tag65.xml"/><Relationship Id="rId34" Type="http://schemas.openxmlformats.org/officeDocument/2006/relationships/tags" Target="../tags/tag78.xml"/><Relationship Id="rId42" Type="http://schemas.openxmlformats.org/officeDocument/2006/relationships/tags" Target="../tags/tag86.xml"/><Relationship Id="rId7" Type="http://schemas.openxmlformats.org/officeDocument/2006/relationships/tags" Target="../tags/tag51.xml"/><Relationship Id="rId2" Type="http://schemas.openxmlformats.org/officeDocument/2006/relationships/tags" Target="../tags/tag46.xml"/><Relationship Id="rId16" Type="http://schemas.openxmlformats.org/officeDocument/2006/relationships/tags" Target="../tags/tag60.xml"/><Relationship Id="rId29" Type="http://schemas.openxmlformats.org/officeDocument/2006/relationships/tags" Target="../tags/tag73.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24" Type="http://schemas.openxmlformats.org/officeDocument/2006/relationships/tags" Target="../tags/tag68.xml"/><Relationship Id="rId32" Type="http://schemas.openxmlformats.org/officeDocument/2006/relationships/tags" Target="../tags/tag76.xml"/><Relationship Id="rId37" Type="http://schemas.openxmlformats.org/officeDocument/2006/relationships/tags" Target="../tags/tag81.xml"/><Relationship Id="rId40" Type="http://schemas.openxmlformats.org/officeDocument/2006/relationships/tags" Target="../tags/tag84.xml"/><Relationship Id="rId45" Type="http://schemas.openxmlformats.org/officeDocument/2006/relationships/slideLayout" Target="../slideLayouts/slideLayout167.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tags" Target="../tags/tag67.xml"/><Relationship Id="rId28" Type="http://schemas.openxmlformats.org/officeDocument/2006/relationships/tags" Target="../tags/tag72.xml"/><Relationship Id="rId36" Type="http://schemas.openxmlformats.org/officeDocument/2006/relationships/tags" Target="../tags/tag80.xml"/><Relationship Id="rId10" Type="http://schemas.openxmlformats.org/officeDocument/2006/relationships/tags" Target="../tags/tag54.xml"/><Relationship Id="rId19" Type="http://schemas.openxmlformats.org/officeDocument/2006/relationships/tags" Target="../tags/tag63.xml"/><Relationship Id="rId31" Type="http://schemas.openxmlformats.org/officeDocument/2006/relationships/tags" Target="../tags/tag75.xml"/><Relationship Id="rId44" Type="http://schemas.openxmlformats.org/officeDocument/2006/relationships/tags" Target="../tags/tag88.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tags" Target="../tags/tag66.xml"/><Relationship Id="rId27" Type="http://schemas.openxmlformats.org/officeDocument/2006/relationships/tags" Target="../tags/tag71.xml"/><Relationship Id="rId30" Type="http://schemas.openxmlformats.org/officeDocument/2006/relationships/tags" Target="../tags/tag74.xml"/><Relationship Id="rId35" Type="http://schemas.openxmlformats.org/officeDocument/2006/relationships/tags" Target="../tags/tag79.xml"/><Relationship Id="rId43" Type="http://schemas.openxmlformats.org/officeDocument/2006/relationships/tags" Target="../tags/tag87.xml"/><Relationship Id="rId8" Type="http://schemas.openxmlformats.org/officeDocument/2006/relationships/tags" Target="../tags/tag52.xml"/><Relationship Id="rId3" Type="http://schemas.openxmlformats.org/officeDocument/2006/relationships/tags" Target="../tags/tag47.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tags" Target="../tags/tag69.xml"/><Relationship Id="rId33" Type="http://schemas.openxmlformats.org/officeDocument/2006/relationships/tags" Target="../tags/tag77.xml"/><Relationship Id="rId38" Type="http://schemas.openxmlformats.org/officeDocument/2006/relationships/tags" Target="../tags/tag82.xml"/><Relationship Id="rId46" Type="http://schemas.openxmlformats.org/officeDocument/2006/relationships/notesSlide" Target="../notesSlides/notesSlide3.xml"/><Relationship Id="rId20" Type="http://schemas.openxmlformats.org/officeDocument/2006/relationships/tags" Target="../tags/tag64.xml"/><Relationship Id="rId41" Type="http://schemas.openxmlformats.org/officeDocument/2006/relationships/tags" Target="../tags/tag8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59.svg"/><Relationship Id="rId3" Type="http://schemas.openxmlformats.org/officeDocument/2006/relationships/image" Target="../media/image51.png"/><Relationship Id="rId7" Type="http://schemas.openxmlformats.org/officeDocument/2006/relationships/image" Target="../media/image54.png"/><Relationship Id="rId12"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243.xml"/><Relationship Id="rId6" Type="http://schemas.openxmlformats.org/officeDocument/2006/relationships/image" Target="../media/image53.png"/><Relationship Id="rId11" Type="http://schemas.openxmlformats.org/officeDocument/2006/relationships/image" Target="../media/image57.svg"/><Relationship Id="rId5" Type="http://schemas.openxmlformats.org/officeDocument/2006/relationships/image" Target="../media/image52.png"/><Relationship Id="rId10" Type="http://schemas.openxmlformats.org/officeDocument/2006/relationships/image" Target="../media/image56.png"/><Relationship Id="rId4" Type="http://schemas.microsoft.com/office/2007/relationships/hdphoto" Target="../media/hdphoto1.wdp"/><Relationship Id="rId9" Type="http://schemas.microsoft.com/office/2007/relationships/hdphoto" Target="../media/hdphoto2.wdp"/></Relationships>
</file>

<file path=ppt/slides/_rels/slide8.xml.rels><?xml version="1.0" encoding="UTF-8" standalone="yes"?>
<Relationships xmlns="http://schemas.openxmlformats.org/package/2006/relationships"><Relationship Id="rId13" Type="http://schemas.openxmlformats.org/officeDocument/2006/relationships/image" Target="../media/image68.jpeg"/><Relationship Id="rId18" Type="http://schemas.openxmlformats.org/officeDocument/2006/relationships/image" Target="../media/image73.svg"/><Relationship Id="rId26" Type="http://schemas.microsoft.com/office/2007/relationships/hdphoto" Target="../media/hdphoto5.wdp"/><Relationship Id="rId3" Type="http://schemas.openxmlformats.org/officeDocument/2006/relationships/image" Target="../media/image60.png"/><Relationship Id="rId21" Type="http://schemas.openxmlformats.org/officeDocument/2006/relationships/image" Target="../media/image76.png"/><Relationship Id="rId34" Type="http://schemas.openxmlformats.org/officeDocument/2006/relationships/hyperlink" Target="https://azure.com/Linux" TargetMode="External"/><Relationship Id="rId7" Type="http://schemas.openxmlformats.org/officeDocument/2006/relationships/image" Target="../media/image63.png"/><Relationship Id="rId12" Type="http://schemas.openxmlformats.org/officeDocument/2006/relationships/image" Target="../media/image67.png"/><Relationship Id="rId17" Type="http://schemas.openxmlformats.org/officeDocument/2006/relationships/image" Target="../media/image72.png"/><Relationship Id="rId25" Type="http://schemas.openxmlformats.org/officeDocument/2006/relationships/image" Target="../media/image80.png"/><Relationship Id="rId33" Type="http://schemas.openxmlformats.org/officeDocument/2006/relationships/image" Target="../media/image84.png"/><Relationship Id="rId2" Type="http://schemas.openxmlformats.org/officeDocument/2006/relationships/notesSlide" Target="../notesSlides/notesSlide7.xml"/><Relationship Id="rId16" Type="http://schemas.openxmlformats.org/officeDocument/2006/relationships/image" Target="../media/image71.svg"/><Relationship Id="rId20" Type="http://schemas.openxmlformats.org/officeDocument/2006/relationships/image" Target="../media/image75.svg"/><Relationship Id="rId29" Type="http://schemas.openxmlformats.org/officeDocument/2006/relationships/image" Target="../media/image82.png"/><Relationship Id="rId1" Type="http://schemas.openxmlformats.org/officeDocument/2006/relationships/slideLayout" Target="../slideLayouts/slideLayout266.xml"/><Relationship Id="rId6" Type="http://schemas.microsoft.com/office/2007/relationships/hdphoto" Target="../media/hdphoto3.wdp"/><Relationship Id="rId11" Type="http://schemas.microsoft.com/office/2007/relationships/hdphoto" Target="../media/hdphoto4.wdp"/><Relationship Id="rId24" Type="http://schemas.openxmlformats.org/officeDocument/2006/relationships/image" Target="../media/image79.svg"/><Relationship Id="rId32" Type="http://schemas.openxmlformats.org/officeDocument/2006/relationships/hyperlink" Target="https://azure.com/SUSE" TargetMode="External"/><Relationship Id="rId5" Type="http://schemas.openxmlformats.org/officeDocument/2006/relationships/image" Target="../media/image62.png"/><Relationship Id="rId15" Type="http://schemas.openxmlformats.org/officeDocument/2006/relationships/image" Target="../media/image70.png"/><Relationship Id="rId23" Type="http://schemas.openxmlformats.org/officeDocument/2006/relationships/image" Target="../media/image78.png"/><Relationship Id="rId28" Type="http://schemas.microsoft.com/office/2007/relationships/hdphoto" Target="../media/hdphoto6.wdp"/><Relationship Id="rId10" Type="http://schemas.openxmlformats.org/officeDocument/2006/relationships/image" Target="../media/image66.png"/><Relationship Id="rId19" Type="http://schemas.openxmlformats.org/officeDocument/2006/relationships/image" Target="../media/image74.png"/><Relationship Id="rId31" Type="http://schemas.openxmlformats.org/officeDocument/2006/relationships/image" Target="../media/image83.png"/><Relationship Id="rId4" Type="http://schemas.openxmlformats.org/officeDocument/2006/relationships/image" Target="../media/image61.png"/><Relationship Id="rId9" Type="http://schemas.openxmlformats.org/officeDocument/2006/relationships/image" Target="../media/image65.png"/><Relationship Id="rId14" Type="http://schemas.openxmlformats.org/officeDocument/2006/relationships/image" Target="../media/image69.png"/><Relationship Id="rId22" Type="http://schemas.openxmlformats.org/officeDocument/2006/relationships/image" Target="../media/image77.svg"/><Relationship Id="rId27" Type="http://schemas.openxmlformats.org/officeDocument/2006/relationships/image" Target="../media/image81.png"/><Relationship Id="rId30" Type="http://schemas.openxmlformats.org/officeDocument/2006/relationships/hyperlink" Target="https://azure.com/RedHat" TargetMode="External"/><Relationship Id="rId8" Type="http://schemas.openxmlformats.org/officeDocument/2006/relationships/image" Target="../media/image64.png"/></Relationships>
</file>

<file path=ppt/slides/_rels/slide9.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85.png"/><Relationship Id="rId7" Type="http://schemas.openxmlformats.org/officeDocument/2006/relationships/image" Target="../media/image88.png"/><Relationship Id="rId2" Type="http://schemas.openxmlformats.org/officeDocument/2006/relationships/notesSlide" Target="../notesSlides/notesSlide8.xml"/><Relationship Id="rId1" Type="http://schemas.openxmlformats.org/officeDocument/2006/relationships/slideLayout" Target="../slideLayouts/slideLayout228.xml"/><Relationship Id="rId6" Type="http://schemas.openxmlformats.org/officeDocument/2006/relationships/image" Target="../media/image87.png"/><Relationship Id="rId5" Type="http://schemas.microsoft.com/office/2007/relationships/hdphoto" Target="../media/hdphoto7.wdp"/><Relationship Id="rId4" Type="http://schemas.openxmlformats.org/officeDocument/2006/relationships/image" Target="../media/image86.png"/><Relationship Id="rId9" Type="http://schemas.openxmlformats.org/officeDocument/2006/relationships/image" Target="../media/image89.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33B66FAC-501B-5A4F-93AE-EF252C33A38E}"/>
              </a:ext>
            </a:extLst>
          </p:cNvPr>
          <p:cNvSpPr txBox="1">
            <a:spLocks noGrp="1"/>
          </p:cNvSpPr>
          <p:nvPr>
            <p:ph type="title" idx="4294967295"/>
          </p:nvPr>
        </p:nvSpPr>
        <p:spPr>
          <a:xfrm>
            <a:off x="435883" y="2354573"/>
            <a:ext cx="5636554" cy="1341111"/>
          </a:xfrm>
          <a:prstGeom prst="rect">
            <a:avLst/>
          </a:prstGeom>
          <a:noFill/>
          <a:ln>
            <a:noFill/>
            <a:prstDash/>
          </a:ln>
          <a:effectLst/>
        </p:spPr>
        <p:txBody>
          <a:bodyPr rot="0" spcFirstLastPara="0" vertOverflow="overflow" horzOverflow="overflow" vert="horz" wrap="square" lIns="0" tIns="70841" rIns="0" bIns="0" numCol="1" spcCol="0" rtlCol="0" fromWordArt="0" anchor="t" anchorCtr="0" forceAA="0" compatLnSpc="1">
            <a:prstTxWarp prst="textNoShape">
              <a:avLst/>
            </a:prstTxWarp>
            <a:spAutoFit/>
          </a:bodyPr>
          <a:lstStyle/>
          <a:p>
            <a:pPr marL="7700" marR="3080" lvl="0" indent="0" algn="l" defTabSz="277200" rtl="0" eaLnBrk="1" fontAlgn="auto" latinLnBrk="0" hangingPunct="1">
              <a:lnSpc>
                <a:spcPts val="3335"/>
              </a:lnSpc>
              <a:spcBef>
                <a:spcPts val="557"/>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latin typeface="+mn-lt"/>
                <a:ea typeface="+mn-ea"/>
                <a:cs typeface="+mn-cs"/>
              </a:rPr>
              <a:t>Microsoft Azure Immersion Workshop:</a:t>
            </a:r>
            <a:br>
              <a:rPr kumimoji="0" lang="en-US" sz="3200" b="0" i="0" u="none" strike="noStrike" kern="1200" cap="none" spc="0" normalizeH="0" baseline="0" noProof="0" dirty="0">
                <a:ln>
                  <a:noFill/>
                </a:ln>
                <a:solidFill>
                  <a:schemeClr val="bg1"/>
                </a:solidFill>
                <a:effectLst/>
                <a:uLnTx/>
                <a:uFillTx/>
                <a:latin typeface="+mn-lt"/>
                <a:ea typeface="+mn-ea"/>
                <a:cs typeface="+mn-cs"/>
              </a:rPr>
            </a:br>
            <a:r>
              <a:rPr kumimoji="0" lang="en-US" sz="3200" b="0" i="0" u="none" strike="noStrike" kern="1200" cap="none" spc="0" normalizeH="0" baseline="0" noProof="0" dirty="0">
                <a:ln>
                  <a:noFill/>
                </a:ln>
                <a:solidFill>
                  <a:schemeClr val="bg1"/>
                </a:solidFill>
                <a:effectLst/>
                <a:uLnTx/>
                <a:uFillTx/>
                <a:latin typeface="+mn-lt"/>
                <a:ea typeface="+mn-ea"/>
                <a:cs typeface="+mn-cs"/>
              </a:rPr>
              <a:t>Infrastructure Migration</a:t>
            </a:r>
            <a:endParaRPr kumimoji="0" lang="en-US" sz="3153" b="0" i="0" u="none" strike="noStrike" kern="1200" cap="none" spc="0" normalizeH="0" baseline="0" noProof="0" dirty="0">
              <a:ln>
                <a:noFill/>
              </a:ln>
              <a:solidFill>
                <a:schemeClr val="bg1"/>
              </a:solidFill>
              <a:effectLst/>
              <a:uLnTx/>
              <a:uFillTx/>
              <a:latin typeface="Segoe UI"/>
              <a:ea typeface="+mn-ea"/>
              <a:cs typeface="Segoe UI"/>
            </a:endParaRPr>
          </a:p>
        </p:txBody>
      </p:sp>
      <p:sp>
        <p:nvSpPr>
          <p:cNvPr id="5" name="object 3">
            <a:extLst>
              <a:ext uri="{FF2B5EF4-FFF2-40B4-BE49-F238E27FC236}">
                <a16:creationId xmlns:a16="http://schemas.microsoft.com/office/drawing/2014/main" id="{D7423CBA-B630-C946-AF2B-8460F73891E4}"/>
              </a:ext>
            </a:extLst>
          </p:cNvPr>
          <p:cNvSpPr txBox="1"/>
          <p:nvPr/>
        </p:nvSpPr>
        <p:spPr>
          <a:xfrm>
            <a:off x="564023" y="4196144"/>
            <a:ext cx="5283114" cy="310887"/>
          </a:xfrm>
          <a:prstGeom prst="rect">
            <a:avLst/>
          </a:prstGeom>
        </p:spPr>
        <p:txBody>
          <a:bodyPr vert="horz" wrap="square" lIns="0" tIns="3080" rIns="0" bIns="0" rtlCol="0">
            <a:spAutoFit/>
          </a:bodyPr>
          <a:lstStyle/>
          <a:p>
            <a:r>
              <a:rPr lang="en-US" sz="2000" dirty="0">
                <a:solidFill>
                  <a:schemeClr val="bg1"/>
                </a:solidFill>
                <a:latin typeface="Segoe UI" panose="020B0502040204020203" pitchFamily="34" charset="0"/>
                <a:cs typeface="Segoe UI" panose="020B0502040204020203" pitchFamily="34" charset="0"/>
              </a:rPr>
              <a:t>Session 8: Next Best Action</a:t>
            </a:r>
          </a:p>
        </p:txBody>
      </p:sp>
      <p:grpSp>
        <p:nvGrpSpPr>
          <p:cNvPr id="6" name="object 4">
            <a:extLst>
              <a:ext uri="{FF2B5EF4-FFF2-40B4-BE49-F238E27FC236}">
                <a16:creationId xmlns:a16="http://schemas.microsoft.com/office/drawing/2014/main" id="{299A7515-D40E-8340-800F-C0AC767FC6D2}"/>
              </a:ext>
              <a:ext uri="{C183D7F6-B498-43B3-948B-1728B52AA6E4}">
                <adec:decorative xmlns:adec="http://schemas.microsoft.com/office/drawing/2017/decorative" val="1"/>
              </a:ext>
            </a:extLst>
          </p:cNvPr>
          <p:cNvGrpSpPr/>
          <p:nvPr/>
        </p:nvGrpSpPr>
        <p:grpSpPr>
          <a:xfrm>
            <a:off x="584987" y="298564"/>
            <a:ext cx="1132316" cy="242172"/>
            <a:chOff x="964293" y="492424"/>
            <a:chExt cx="1867535" cy="399415"/>
          </a:xfrm>
        </p:grpSpPr>
        <p:sp>
          <p:nvSpPr>
            <p:cNvPr id="7" name="object 5">
              <a:extLst>
                <a:ext uri="{FF2B5EF4-FFF2-40B4-BE49-F238E27FC236}">
                  <a16:creationId xmlns:a16="http://schemas.microsoft.com/office/drawing/2014/main" id="{29DACA89-7A69-8348-93E2-71554AE8E706}"/>
                </a:ext>
              </a:extLst>
            </p:cNvPr>
            <p:cNvSpPr/>
            <p:nvPr/>
          </p:nvSpPr>
          <p:spPr>
            <a:xfrm>
              <a:off x="1481836" y="554371"/>
              <a:ext cx="1350010" cy="260985"/>
            </a:xfrm>
            <a:custGeom>
              <a:avLst/>
              <a:gdLst/>
              <a:ahLst/>
              <a:cxnLst/>
              <a:rect l="l" t="t" r="r" b="b"/>
              <a:pathLst>
                <a:path w="1350010" h="260984">
                  <a:moveTo>
                    <a:pt x="59445" y="17653"/>
                  </a:moveTo>
                  <a:lnTo>
                    <a:pt x="0" y="17653"/>
                  </a:lnTo>
                  <a:lnTo>
                    <a:pt x="0" y="256528"/>
                  </a:lnTo>
                  <a:lnTo>
                    <a:pt x="38298" y="256528"/>
                  </a:lnTo>
                  <a:lnTo>
                    <a:pt x="38298" y="69296"/>
                  </a:lnTo>
                  <a:lnTo>
                    <a:pt x="79465" y="69296"/>
                  </a:lnTo>
                  <a:lnTo>
                    <a:pt x="59445" y="17653"/>
                  </a:lnTo>
                  <a:close/>
                </a:path>
                <a:path w="1350010" h="260984">
                  <a:moveTo>
                    <a:pt x="79465" y="69296"/>
                  </a:moveTo>
                  <a:lnTo>
                    <a:pt x="38800" y="69296"/>
                  </a:lnTo>
                  <a:lnTo>
                    <a:pt x="114756" y="256528"/>
                  </a:lnTo>
                  <a:lnTo>
                    <a:pt x="142236" y="256528"/>
                  </a:lnTo>
                  <a:lnTo>
                    <a:pt x="166713" y="194720"/>
                  </a:lnTo>
                  <a:lnTo>
                    <a:pt x="128088" y="194720"/>
                  </a:lnTo>
                  <a:lnTo>
                    <a:pt x="79465" y="69296"/>
                  </a:lnTo>
                  <a:close/>
                </a:path>
                <a:path w="1350010" h="260984">
                  <a:moveTo>
                    <a:pt x="258513" y="69296"/>
                  </a:moveTo>
                  <a:lnTo>
                    <a:pt x="217048" y="69296"/>
                  </a:lnTo>
                  <a:lnTo>
                    <a:pt x="217048" y="256528"/>
                  </a:lnTo>
                  <a:lnTo>
                    <a:pt x="258513" y="256528"/>
                  </a:lnTo>
                  <a:lnTo>
                    <a:pt x="258513" y="69296"/>
                  </a:lnTo>
                  <a:close/>
                </a:path>
                <a:path w="1350010" h="260984">
                  <a:moveTo>
                    <a:pt x="258513" y="17653"/>
                  </a:moveTo>
                  <a:lnTo>
                    <a:pt x="201556" y="17653"/>
                  </a:lnTo>
                  <a:lnTo>
                    <a:pt x="129093" y="194720"/>
                  </a:lnTo>
                  <a:lnTo>
                    <a:pt x="166713" y="194720"/>
                  </a:lnTo>
                  <a:lnTo>
                    <a:pt x="216382" y="69296"/>
                  </a:lnTo>
                  <a:lnTo>
                    <a:pt x="258513" y="69296"/>
                  </a:lnTo>
                  <a:lnTo>
                    <a:pt x="258513" y="17653"/>
                  </a:lnTo>
                  <a:close/>
                </a:path>
                <a:path w="1350010" h="260984">
                  <a:moveTo>
                    <a:pt x="324794" y="12326"/>
                  </a:moveTo>
                  <a:lnTo>
                    <a:pt x="311035" y="12326"/>
                  </a:lnTo>
                  <a:lnTo>
                    <a:pt x="305280" y="14562"/>
                  </a:lnTo>
                  <a:lnTo>
                    <a:pt x="295605" y="23572"/>
                  </a:lnTo>
                  <a:lnTo>
                    <a:pt x="293193" y="29150"/>
                  </a:lnTo>
                  <a:lnTo>
                    <a:pt x="293247" y="42369"/>
                  </a:lnTo>
                  <a:lnTo>
                    <a:pt x="295567" y="47709"/>
                  </a:lnTo>
                  <a:lnTo>
                    <a:pt x="304991" y="56706"/>
                  </a:lnTo>
                  <a:lnTo>
                    <a:pt x="310796" y="58967"/>
                  </a:lnTo>
                  <a:lnTo>
                    <a:pt x="324568" y="58967"/>
                  </a:lnTo>
                  <a:lnTo>
                    <a:pt x="330398" y="56756"/>
                  </a:lnTo>
                  <a:lnTo>
                    <a:pt x="339947" y="47860"/>
                  </a:lnTo>
                  <a:lnTo>
                    <a:pt x="342347" y="42369"/>
                  </a:lnTo>
                  <a:lnTo>
                    <a:pt x="342257" y="29150"/>
                  </a:lnTo>
                  <a:lnTo>
                    <a:pt x="340010" y="23848"/>
                  </a:lnTo>
                  <a:lnTo>
                    <a:pt x="330687" y="14625"/>
                  </a:lnTo>
                  <a:lnTo>
                    <a:pt x="324794" y="12326"/>
                  </a:lnTo>
                  <a:close/>
                </a:path>
                <a:path w="1350010" h="260984">
                  <a:moveTo>
                    <a:pt x="337673" y="85291"/>
                  </a:moveTo>
                  <a:lnTo>
                    <a:pt x="297377" y="85291"/>
                  </a:lnTo>
                  <a:lnTo>
                    <a:pt x="297377" y="256528"/>
                  </a:lnTo>
                  <a:lnTo>
                    <a:pt x="337673" y="256528"/>
                  </a:lnTo>
                  <a:lnTo>
                    <a:pt x="337673" y="85291"/>
                  </a:lnTo>
                  <a:close/>
                </a:path>
                <a:path w="1350010" h="260984">
                  <a:moveTo>
                    <a:pt x="465987" y="80956"/>
                  </a:moveTo>
                  <a:lnTo>
                    <a:pt x="458448" y="80956"/>
                  </a:lnTo>
                  <a:lnTo>
                    <a:pt x="437553" y="82625"/>
                  </a:lnTo>
                  <a:lnTo>
                    <a:pt x="389981" y="107695"/>
                  </a:lnTo>
                  <a:lnTo>
                    <a:pt x="367341" y="156000"/>
                  </a:lnTo>
                  <a:lnTo>
                    <a:pt x="365831" y="175747"/>
                  </a:lnTo>
                  <a:lnTo>
                    <a:pt x="367309" y="193487"/>
                  </a:lnTo>
                  <a:lnTo>
                    <a:pt x="389479" y="236788"/>
                  </a:lnTo>
                  <a:lnTo>
                    <a:pt x="432921" y="259193"/>
                  </a:lnTo>
                  <a:lnTo>
                    <a:pt x="450947" y="260687"/>
                  </a:lnTo>
                  <a:lnTo>
                    <a:pt x="458128" y="260510"/>
                  </a:lnTo>
                  <a:lnTo>
                    <a:pt x="499762" y="249529"/>
                  </a:lnTo>
                  <a:lnTo>
                    <a:pt x="499762" y="227201"/>
                  </a:lnTo>
                  <a:lnTo>
                    <a:pt x="459944" y="227201"/>
                  </a:lnTo>
                  <a:lnTo>
                    <a:pt x="448499" y="226296"/>
                  </a:lnTo>
                  <a:lnTo>
                    <a:pt x="415553" y="204745"/>
                  </a:lnTo>
                  <a:lnTo>
                    <a:pt x="407623" y="172241"/>
                  </a:lnTo>
                  <a:lnTo>
                    <a:pt x="408541" y="159755"/>
                  </a:lnTo>
                  <a:lnTo>
                    <a:pt x="430196" y="123645"/>
                  </a:lnTo>
                  <a:lnTo>
                    <a:pt x="460785" y="114920"/>
                  </a:lnTo>
                  <a:lnTo>
                    <a:pt x="499762" y="114920"/>
                  </a:lnTo>
                  <a:lnTo>
                    <a:pt x="499762" y="90619"/>
                  </a:lnTo>
                  <a:lnTo>
                    <a:pt x="495189" y="88055"/>
                  </a:lnTo>
                  <a:lnTo>
                    <a:pt x="489069" y="85806"/>
                  </a:lnTo>
                  <a:lnTo>
                    <a:pt x="473627" y="81936"/>
                  </a:lnTo>
                  <a:lnTo>
                    <a:pt x="465987" y="80956"/>
                  </a:lnTo>
                  <a:close/>
                </a:path>
                <a:path w="1350010" h="260984">
                  <a:moveTo>
                    <a:pt x="499762" y="212047"/>
                  </a:moveTo>
                  <a:lnTo>
                    <a:pt x="493656" y="216596"/>
                  </a:lnTo>
                  <a:lnTo>
                    <a:pt x="486984" y="220265"/>
                  </a:lnTo>
                  <a:lnTo>
                    <a:pt x="472546" y="225819"/>
                  </a:lnTo>
                  <a:lnTo>
                    <a:pt x="465937" y="227201"/>
                  </a:lnTo>
                  <a:lnTo>
                    <a:pt x="499762" y="227201"/>
                  </a:lnTo>
                  <a:lnTo>
                    <a:pt x="499762" y="212047"/>
                  </a:lnTo>
                  <a:close/>
                </a:path>
                <a:path w="1350010" h="260984">
                  <a:moveTo>
                    <a:pt x="499762" y="114920"/>
                  </a:moveTo>
                  <a:lnTo>
                    <a:pt x="467545" y="114920"/>
                  </a:lnTo>
                  <a:lnTo>
                    <a:pt x="474180" y="116176"/>
                  </a:lnTo>
                  <a:lnTo>
                    <a:pt x="487185" y="121164"/>
                  </a:lnTo>
                  <a:lnTo>
                    <a:pt x="493530" y="124708"/>
                  </a:lnTo>
                  <a:lnTo>
                    <a:pt x="499762" y="129256"/>
                  </a:lnTo>
                  <a:lnTo>
                    <a:pt x="499762" y="114920"/>
                  </a:lnTo>
                  <a:close/>
                </a:path>
                <a:path w="1350010" h="260984">
                  <a:moveTo>
                    <a:pt x="570390" y="85291"/>
                  </a:moveTo>
                  <a:lnTo>
                    <a:pt x="530069" y="85291"/>
                  </a:lnTo>
                  <a:lnTo>
                    <a:pt x="530069" y="256528"/>
                  </a:lnTo>
                  <a:lnTo>
                    <a:pt x="570390" y="256528"/>
                  </a:lnTo>
                  <a:lnTo>
                    <a:pt x="570390" y="170080"/>
                  </a:lnTo>
                  <a:lnTo>
                    <a:pt x="571027" y="157928"/>
                  </a:lnTo>
                  <a:lnTo>
                    <a:pt x="592012" y="122225"/>
                  </a:lnTo>
                  <a:lnTo>
                    <a:pt x="605686" y="119104"/>
                  </a:lnTo>
                  <a:lnTo>
                    <a:pt x="629685" y="119104"/>
                  </a:lnTo>
                  <a:lnTo>
                    <a:pt x="629685" y="112256"/>
                  </a:lnTo>
                  <a:lnTo>
                    <a:pt x="570390" y="112256"/>
                  </a:lnTo>
                  <a:lnTo>
                    <a:pt x="570390" y="85291"/>
                  </a:lnTo>
                  <a:close/>
                </a:path>
                <a:path w="1350010" h="260984">
                  <a:moveTo>
                    <a:pt x="629685" y="119104"/>
                  </a:moveTo>
                  <a:lnTo>
                    <a:pt x="611466" y="119104"/>
                  </a:lnTo>
                  <a:lnTo>
                    <a:pt x="616379" y="119795"/>
                  </a:lnTo>
                  <a:lnTo>
                    <a:pt x="624496" y="122572"/>
                  </a:lnTo>
                  <a:lnTo>
                    <a:pt x="627574" y="124042"/>
                  </a:lnTo>
                  <a:lnTo>
                    <a:pt x="629685" y="125600"/>
                  </a:lnTo>
                  <a:lnTo>
                    <a:pt x="629685" y="119104"/>
                  </a:lnTo>
                  <a:close/>
                </a:path>
                <a:path w="1350010" h="260984">
                  <a:moveTo>
                    <a:pt x="617723" y="82451"/>
                  </a:moveTo>
                  <a:lnTo>
                    <a:pt x="614519" y="82451"/>
                  </a:lnTo>
                  <a:lnTo>
                    <a:pt x="606976" y="82946"/>
                  </a:lnTo>
                  <a:lnTo>
                    <a:pt x="574137" y="105650"/>
                  </a:lnTo>
                  <a:lnTo>
                    <a:pt x="571031" y="112256"/>
                  </a:lnTo>
                  <a:lnTo>
                    <a:pt x="629685" y="112256"/>
                  </a:lnTo>
                  <a:lnTo>
                    <a:pt x="629685" y="84776"/>
                  </a:lnTo>
                  <a:lnTo>
                    <a:pt x="627901" y="84123"/>
                  </a:lnTo>
                  <a:lnTo>
                    <a:pt x="625740" y="83557"/>
                  </a:lnTo>
                  <a:lnTo>
                    <a:pt x="620638" y="82678"/>
                  </a:lnTo>
                  <a:lnTo>
                    <a:pt x="617723" y="82451"/>
                  </a:lnTo>
                  <a:close/>
                </a:path>
                <a:path w="1350010" h="260984">
                  <a:moveTo>
                    <a:pt x="722478" y="81283"/>
                  </a:moveTo>
                  <a:lnTo>
                    <a:pt x="684502" y="87485"/>
                  </a:lnTo>
                  <a:lnTo>
                    <a:pt x="645357" y="119620"/>
                  </a:lnTo>
                  <a:lnTo>
                    <a:pt x="631871" y="173410"/>
                  </a:lnTo>
                  <a:lnTo>
                    <a:pt x="633334" y="192572"/>
                  </a:lnTo>
                  <a:lnTo>
                    <a:pt x="655255" y="237291"/>
                  </a:lnTo>
                  <a:lnTo>
                    <a:pt x="699604" y="259224"/>
                  </a:lnTo>
                  <a:lnTo>
                    <a:pt x="718495" y="260687"/>
                  </a:lnTo>
                  <a:lnTo>
                    <a:pt x="738061" y="259148"/>
                  </a:lnTo>
                  <a:lnTo>
                    <a:pt x="755464" y="254528"/>
                  </a:lnTo>
                  <a:lnTo>
                    <a:pt x="770705" y="246825"/>
                  </a:lnTo>
                  <a:lnTo>
                    <a:pt x="783783" y="236034"/>
                  </a:lnTo>
                  <a:lnTo>
                    <a:pt x="790701" y="227201"/>
                  </a:lnTo>
                  <a:lnTo>
                    <a:pt x="720807" y="227201"/>
                  </a:lnTo>
                  <a:lnTo>
                    <a:pt x="710142" y="226316"/>
                  </a:lnTo>
                  <a:lnTo>
                    <a:pt x="676876" y="195732"/>
                  </a:lnTo>
                  <a:lnTo>
                    <a:pt x="673919" y="173410"/>
                  </a:lnTo>
                  <a:lnTo>
                    <a:pt x="673978" y="169741"/>
                  </a:lnTo>
                  <a:lnTo>
                    <a:pt x="686077" y="130010"/>
                  </a:lnTo>
                  <a:lnTo>
                    <a:pt x="720480" y="115271"/>
                  </a:lnTo>
                  <a:lnTo>
                    <a:pt x="792850" y="115271"/>
                  </a:lnTo>
                  <a:lnTo>
                    <a:pt x="785190" y="105194"/>
                  </a:lnTo>
                  <a:lnTo>
                    <a:pt x="772803" y="94731"/>
                  </a:lnTo>
                  <a:lnTo>
                    <a:pt x="758221" y="87259"/>
                  </a:lnTo>
                  <a:lnTo>
                    <a:pt x="741446" y="82777"/>
                  </a:lnTo>
                  <a:lnTo>
                    <a:pt x="722478" y="81283"/>
                  </a:lnTo>
                  <a:close/>
                </a:path>
                <a:path w="1350010" h="260984">
                  <a:moveTo>
                    <a:pt x="792850" y="115271"/>
                  </a:moveTo>
                  <a:lnTo>
                    <a:pt x="720480" y="115271"/>
                  </a:lnTo>
                  <a:lnTo>
                    <a:pt x="730630" y="116150"/>
                  </a:lnTo>
                  <a:lnTo>
                    <a:pt x="739577" y="118788"/>
                  </a:lnTo>
                  <a:lnTo>
                    <a:pt x="765035" y="158091"/>
                  </a:lnTo>
                  <a:lnTo>
                    <a:pt x="765722" y="172078"/>
                  </a:lnTo>
                  <a:lnTo>
                    <a:pt x="765059" y="184129"/>
                  </a:lnTo>
                  <a:lnTo>
                    <a:pt x="747891" y="219239"/>
                  </a:lnTo>
                  <a:lnTo>
                    <a:pt x="720807" y="227201"/>
                  </a:lnTo>
                  <a:lnTo>
                    <a:pt x="790701" y="227201"/>
                  </a:lnTo>
                  <a:lnTo>
                    <a:pt x="794274" y="222640"/>
                  </a:lnTo>
                  <a:lnTo>
                    <a:pt x="801770" y="207128"/>
                  </a:lnTo>
                  <a:lnTo>
                    <a:pt x="806269" y="189496"/>
                  </a:lnTo>
                  <a:lnTo>
                    <a:pt x="807770" y="169741"/>
                  </a:lnTo>
                  <a:lnTo>
                    <a:pt x="806358" y="150462"/>
                  </a:lnTo>
                  <a:lnTo>
                    <a:pt x="802125" y="133279"/>
                  </a:lnTo>
                  <a:lnTo>
                    <a:pt x="795069" y="118190"/>
                  </a:lnTo>
                  <a:lnTo>
                    <a:pt x="792850" y="115271"/>
                  </a:lnTo>
                  <a:close/>
                </a:path>
                <a:path w="1350010" h="260984">
                  <a:moveTo>
                    <a:pt x="826931" y="211884"/>
                  </a:moveTo>
                  <a:lnTo>
                    <a:pt x="826931" y="251514"/>
                  </a:lnTo>
                  <a:lnTo>
                    <a:pt x="832925" y="254191"/>
                  </a:lnTo>
                  <a:lnTo>
                    <a:pt x="840213" y="256390"/>
                  </a:lnTo>
                  <a:lnTo>
                    <a:pt x="857427" y="259832"/>
                  </a:lnTo>
                  <a:lnTo>
                    <a:pt x="865280" y="260687"/>
                  </a:lnTo>
                  <a:lnTo>
                    <a:pt x="872379" y="260687"/>
                  </a:lnTo>
                  <a:lnTo>
                    <a:pt x="912509" y="252444"/>
                  </a:lnTo>
                  <a:lnTo>
                    <a:pt x="936698" y="228533"/>
                  </a:lnTo>
                  <a:lnTo>
                    <a:pt x="866662" y="228533"/>
                  </a:lnTo>
                  <a:lnTo>
                    <a:pt x="859010" y="227038"/>
                  </a:lnTo>
                  <a:lnTo>
                    <a:pt x="850579" y="224035"/>
                  </a:lnTo>
                  <a:lnTo>
                    <a:pt x="844352" y="221587"/>
                  </a:lnTo>
                  <a:lnTo>
                    <a:pt x="838248" y="218698"/>
                  </a:lnTo>
                  <a:lnTo>
                    <a:pt x="832529" y="215513"/>
                  </a:lnTo>
                  <a:lnTo>
                    <a:pt x="826931" y="211884"/>
                  </a:lnTo>
                  <a:close/>
                </a:path>
                <a:path w="1350010" h="260984">
                  <a:moveTo>
                    <a:pt x="899042" y="80956"/>
                  </a:moveTo>
                  <a:lnTo>
                    <a:pt x="893049" y="80956"/>
                  </a:lnTo>
                  <a:lnTo>
                    <a:pt x="879065" y="81889"/>
                  </a:lnTo>
                  <a:lnTo>
                    <a:pt x="837273" y="103829"/>
                  </a:lnTo>
                  <a:lnTo>
                    <a:pt x="826931" y="133930"/>
                  </a:lnTo>
                  <a:lnTo>
                    <a:pt x="827513" y="142525"/>
                  </a:lnTo>
                  <a:lnTo>
                    <a:pt x="848828" y="174651"/>
                  </a:lnTo>
                  <a:lnTo>
                    <a:pt x="876559" y="188208"/>
                  </a:lnTo>
                  <a:lnTo>
                    <a:pt x="883705" y="191626"/>
                  </a:lnTo>
                  <a:lnTo>
                    <a:pt x="889341" y="194823"/>
                  </a:lnTo>
                  <a:lnTo>
                    <a:pt x="893463" y="197799"/>
                  </a:lnTo>
                  <a:lnTo>
                    <a:pt x="897962" y="201631"/>
                  </a:lnTo>
                  <a:lnTo>
                    <a:pt x="900211" y="206318"/>
                  </a:lnTo>
                  <a:lnTo>
                    <a:pt x="900211" y="217890"/>
                  </a:lnTo>
                  <a:lnTo>
                    <a:pt x="898050" y="222150"/>
                  </a:lnTo>
                  <a:lnTo>
                    <a:pt x="889380" y="227264"/>
                  </a:lnTo>
                  <a:lnTo>
                    <a:pt x="882670" y="228533"/>
                  </a:lnTo>
                  <a:lnTo>
                    <a:pt x="936698" y="228533"/>
                  </a:lnTo>
                  <a:lnTo>
                    <a:pt x="940008" y="218746"/>
                  </a:lnTo>
                  <a:lnTo>
                    <a:pt x="941185" y="207210"/>
                  </a:lnTo>
                  <a:lnTo>
                    <a:pt x="940577" y="198950"/>
                  </a:lnTo>
                  <a:lnTo>
                    <a:pt x="918097" y="166505"/>
                  </a:lnTo>
                  <a:lnTo>
                    <a:pt x="888967" y="152663"/>
                  </a:lnTo>
                  <a:lnTo>
                    <a:pt x="882054" y="149400"/>
                  </a:lnTo>
                  <a:lnTo>
                    <a:pt x="876810" y="146459"/>
                  </a:lnTo>
                  <a:lnTo>
                    <a:pt x="873234" y="143844"/>
                  </a:lnTo>
                  <a:lnTo>
                    <a:pt x="869565" y="140565"/>
                  </a:lnTo>
                  <a:lnTo>
                    <a:pt x="867730" y="136029"/>
                  </a:lnTo>
                  <a:lnTo>
                    <a:pt x="867730" y="125034"/>
                  </a:lnTo>
                  <a:lnTo>
                    <a:pt x="869866" y="120926"/>
                  </a:lnTo>
                  <a:lnTo>
                    <a:pt x="878423" y="114920"/>
                  </a:lnTo>
                  <a:lnTo>
                    <a:pt x="884379" y="113424"/>
                  </a:lnTo>
                  <a:lnTo>
                    <a:pt x="931850" y="113424"/>
                  </a:lnTo>
                  <a:lnTo>
                    <a:pt x="931850" y="88118"/>
                  </a:lnTo>
                  <a:lnTo>
                    <a:pt x="926861" y="86007"/>
                  </a:lnTo>
                  <a:lnTo>
                    <a:pt x="920654" y="84286"/>
                  </a:lnTo>
                  <a:lnTo>
                    <a:pt x="905765" y="81622"/>
                  </a:lnTo>
                  <a:lnTo>
                    <a:pt x="899042" y="80956"/>
                  </a:lnTo>
                  <a:close/>
                </a:path>
                <a:path w="1350010" h="260984">
                  <a:moveTo>
                    <a:pt x="931850" y="113424"/>
                  </a:moveTo>
                  <a:lnTo>
                    <a:pt x="899042" y="113424"/>
                  </a:lnTo>
                  <a:lnTo>
                    <a:pt x="906091" y="114719"/>
                  </a:lnTo>
                  <a:lnTo>
                    <a:pt x="920302" y="119820"/>
                  </a:lnTo>
                  <a:lnTo>
                    <a:pt x="926522" y="122873"/>
                  </a:lnTo>
                  <a:lnTo>
                    <a:pt x="931850" y="126429"/>
                  </a:lnTo>
                  <a:lnTo>
                    <a:pt x="931850" y="113424"/>
                  </a:lnTo>
                  <a:close/>
                </a:path>
                <a:path w="1350010" h="260984">
                  <a:moveTo>
                    <a:pt x="1049119" y="81283"/>
                  </a:moveTo>
                  <a:lnTo>
                    <a:pt x="1011143" y="87485"/>
                  </a:lnTo>
                  <a:lnTo>
                    <a:pt x="971996" y="119620"/>
                  </a:lnTo>
                  <a:lnTo>
                    <a:pt x="958500" y="173410"/>
                  </a:lnTo>
                  <a:lnTo>
                    <a:pt x="959965" y="192572"/>
                  </a:lnTo>
                  <a:lnTo>
                    <a:pt x="981921" y="237291"/>
                  </a:lnTo>
                  <a:lnTo>
                    <a:pt x="1026233" y="259224"/>
                  </a:lnTo>
                  <a:lnTo>
                    <a:pt x="1045111" y="260687"/>
                  </a:lnTo>
                  <a:lnTo>
                    <a:pt x="1064692" y="259148"/>
                  </a:lnTo>
                  <a:lnTo>
                    <a:pt x="1082103" y="254528"/>
                  </a:lnTo>
                  <a:lnTo>
                    <a:pt x="1097346" y="246825"/>
                  </a:lnTo>
                  <a:lnTo>
                    <a:pt x="1110424" y="236034"/>
                  </a:lnTo>
                  <a:lnTo>
                    <a:pt x="1117342" y="227201"/>
                  </a:lnTo>
                  <a:lnTo>
                    <a:pt x="1047473" y="227201"/>
                  </a:lnTo>
                  <a:lnTo>
                    <a:pt x="1036794" y="226316"/>
                  </a:lnTo>
                  <a:lnTo>
                    <a:pt x="1003524" y="195732"/>
                  </a:lnTo>
                  <a:lnTo>
                    <a:pt x="1000572" y="173410"/>
                  </a:lnTo>
                  <a:lnTo>
                    <a:pt x="1000631" y="169741"/>
                  </a:lnTo>
                  <a:lnTo>
                    <a:pt x="1012718" y="130010"/>
                  </a:lnTo>
                  <a:lnTo>
                    <a:pt x="1047122" y="115271"/>
                  </a:lnTo>
                  <a:lnTo>
                    <a:pt x="1119490" y="115271"/>
                  </a:lnTo>
                  <a:lnTo>
                    <a:pt x="1111832" y="105194"/>
                  </a:lnTo>
                  <a:lnTo>
                    <a:pt x="1099453" y="94731"/>
                  </a:lnTo>
                  <a:lnTo>
                    <a:pt x="1084876" y="87259"/>
                  </a:lnTo>
                  <a:lnTo>
                    <a:pt x="1068099" y="82777"/>
                  </a:lnTo>
                  <a:lnTo>
                    <a:pt x="1049119" y="81283"/>
                  </a:lnTo>
                  <a:close/>
                </a:path>
                <a:path w="1350010" h="260984">
                  <a:moveTo>
                    <a:pt x="1119490" y="115271"/>
                  </a:moveTo>
                  <a:lnTo>
                    <a:pt x="1047122" y="115271"/>
                  </a:lnTo>
                  <a:lnTo>
                    <a:pt x="1057272" y="116150"/>
                  </a:lnTo>
                  <a:lnTo>
                    <a:pt x="1066219" y="118788"/>
                  </a:lnTo>
                  <a:lnTo>
                    <a:pt x="1091687" y="158091"/>
                  </a:lnTo>
                  <a:lnTo>
                    <a:pt x="1092376" y="172078"/>
                  </a:lnTo>
                  <a:lnTo>
                    <a:pt x="1091714" y="184129"/>
                  </a:lnTo>
                  <a:lnTo>
                    <a:pt x="1074531" y="219239"/>
                  </a:lnTo>
                  <a:lnTo>
                    <a:pt x="1047473" y="227201"/>
                  </a:lnTo>
                  <a:lnTo>
                    <a:pt x="1117342" y="227201"/>
                  </a:lnTo>
                  <a:lnTo>
                    <a:pt x="1120913" y="222640"/>
                  </a:lnTo>
                  <a:lnTo>
                    <a:pt x="1128405" y="207128"/>
                  </a:lnTo>
                  <a:lnTo>
                    <a:pt x="1132900" y="189496"/>
                  </a:lnTo>
                  <a:lnTo>
                    <a:pt x="1134398" y="169741"/>
                  </a:lnTo>
                  <a:lnTo>
                    <a:pt x="1132989" y="150462"/>
                  </a:lnTo>
                  <a:lnTo>
                    <a:pt x="1128760" y="133279"/>
                  </a:lnTo>
                  <a:lnTo>
                    <a:pt x="1121708" y="118190"/>
                  </a:lnTo>
                  <a:lnTo>
                    <a:pt x="1119490" y="115271"/>
                  </a:lnTo>
                  <a:close/>
                </a:path>
                <a:path w="1350010" h="260984">
                  <a:moveTo>
                    <a:pt x="1308638" y="118262"/>
                  </a:moveTo>
                  <a:lnTo>
                    <a:pt x="1268141" y="118262"/>
                  </a:lnTo>
                  <a:lnTo>
                    <a:pt x="1268141" y="206217"/>
                  </a:lnTo>
                  <a:lnTo>
                    <a:pt x="1280882" y="247117"/>
                  </a:lnTo>
                  <a:lnTo>
                    <a:pt x="1319117" y="260687"/>
                  </a:lnTo>
                  <a:lnTo>
                    <a:pt x="1324885" y="260687"/>
                  </a:lnTo>
                  <a:lnTo>
                    <a:pt x="1330753" y="260071"/>
                  </a:lnTo>
                  <a:lnTo>
                    <a:pt x="1342627" y="257634"/>
                  </a:lnTo>
                  <a:lnTo>
                    <a:pt x="1346874" y="256302"/>
                  </a:lnTo>
                  <a:lnTo>
                    <a:pt x="1349437" y="254857"/>
                  </a:lnTo>
                  <a:lnTo>
                    <a:pt x="1349437" y="227201"/>
                  </a:lnTo>
                  <a:lnTo>
                    <a:pt x="1324231" y="227201"/>
                  </a:lnTo>
                  <a:lnTo>
                    <a:pt x="1318200" y="225040"/>
                  </a:lnTo>
                  <a:lnTo>
                    <a:pt x="1310535" y="216382"/>
                  </a:lnTo>
                  <a:lnTo>
                    <a:pt x="1308638" y="208944"/>
                  </a:lnTo>
                  <a:lnTo>
                    <a:pt x="1308638" y="118262"/>
                  </a:lnTo>
                  <a:close/>
                </a:path>
                <a:path w="1350010" h="260984">
                  <a:moveTo>
                    <a:pt x="1208105" y="118262"/>
                  </a:moveTo>
                  <a:lnTo>
                    <a:pt x="1167294" y="118262"/>
                  </a:lnTo>
                  <a:lnTo>
                    <a:pt x="1167294" y="256528"/>
                  </a:lnTo>
                  <a:lnTo>
                    <a:pt x="1208105" y="256528"/>
                  </a:lnTo>
                  <a:lnTo>
                    <a:pt x="1208105" y="118262"/>
                  </a:lnTo>
                  <a:close/>
                </a:path>
                <a:path w="1350010" h="260984">
                  <a:moveTo>
                    <a:pt x="1349437" y="221534"/>
                  </a:moveTo>
                  <a:lnTo>
                    <a:pt x="1346987" y="223117"/>
                  </a:lnTo>
                  <a:lnTo>
                    <a:pt x="1344134" y="224424"/>
                  </a:lnTo>
                  <a:lnTo>
                    <a:pt x="1337576" y="226648"/>
                  </a:lnTo>
                  <a:lnTo>
                    <a:pt x="1334773" y="227201"/>
                  </a:lnTo>
                  <a:lnTo>
                    <a:pt x="1349437" y="227201"/>
                  </a:lnTo>
                  <a:lnTo>
                    <a:pt x="1349437" y="221534"/>
                  </a:lnTo>
                  <a:close/>
                </a:path>
                <a:path w="1350010" h="260984">
                  <a:moveTo>
                    <a:pt x="1349437" y="85291"/>
                  </a:moveTo>
                  <a:lnTo>
                    <a:pt x="1138645" y="85291"/>
                  </a:lnTo>
                  <a:lnTo>
                    <a:pt x="1138645" y="118262"/>
                  </a:lnTo>
                  <a:lnTo>
                    <a:pt x="1349437" y="118262"/>
                  </a:lnTo>
                  <a:lnTo>
                    <a:pt x="1349437" y="85291"/>
                  </a:lnTo>
                  <a:close/>
                </a:path>
                <a:path w="1350010" h="260984">
                  <a:moveTo>
                    <a:pt x="1234818" y="0"/>
                  </a:moveTo>
                  <a:lnTo>
                    <a:pt x="1229943" y="0"/>
                  </a:lnTo>
                  <a:lnTo>
                    <a:pt x="1216814" y="1076"/>
                  </a:lnTo>
                  <a:lnTo>
                    <a:pt x="1177185" y="26469"/>
                  </a:lnTo>
                  <a:lnTo>
                    <a:pt x="1167294" y="61455"/>
                  </a:lnTo>
                  <a:lnTo>
                    <a:pt x="1167294" y="85291"/>
                  </a:lnTo>
                  <a:lnTo>
                    <a:pt x="1208105" y="85291"/>
                  </a:lnTo>
                  <a:lnTo>
                    <a:pt x="1208105" y="54306"/>
                  </a:lnTo>
                  <a:lnTo>
                    <a:pt x="1210379" y="46503"/>
                  </a:lnTo>
                  <a:lnTo>
                    <a:pt x="1219489" y="35961"/>
                  </a:lnTo>
                  <a:lnTo>
                    <a:pt x="1225985" y="33322"/>
                  </a:lnTo>
                  <a:lnTo>
                    <a:pt x="1252912" y="33322"/>
                  </a:lnTo>
                  <a:lnTo>
                    <a:pt x="1252912" y="2990"/>
                  </a:lnTo>
                  <a:lnTo>
                    <a:pt x="1250022" y="1985"/>
                  </a:lnTo>
                  <a:lnTo>
                    <a:pt x="1246692" y="1256"/>
                  </a:lnTo>
                  <a:lnTo>
                    <a:pt x="1239153" y="238"/>
                  </a:lnTo>
                  <a:lnTo>
                    <a:pt x="1234818" y="0"/>
                  </a:lnTo>
                  <a:close/>
                </a:path>
                <a:path w="1350010" h="260984">
                  <a:moveTo>
                    <a:pt x="1308638" y="34491"/>
                  </a:moveTo>
                  <a:lnTo>
                    <a:pt x="1268141" y="46792"/>
                  </a:lnTo>
                  <a:lnTo>
                    <a:pt x="1268141" y="85291"/>
                  </a:lnTo>
                  <a:lnTo>
                    <a:pt x="1308638" y="85291"/>
                  </a:lnTo>
                  <a:lnTo>
                    <a:pt x="1308638" y="34491"/>
                  </a:lnTo>
                  <a:close/>
                </a:path>
                <a:path w="1350010" h="260984">
                  <a:moveTo>
                    <a:pt x="1252912" y="33322"/>
                  </a:moveTo>
                  <a:lnTo>
                    <a:pt x="1238739" y="33322"/>
                  </a:lnTo>
                  <a:lnTo>
                    <a:pt x="1242596" y="33875"/>
                  </a:lnTo>
                  <a:lnTo>
                    <a:pt x="1249243" y="36086"/>
                  </a:lnTo>
                  <a:lnTo>
                    <a:pt x="1251580" y="37029"/>
                  </a:lnTo>
                  <a:lnTo>
                    <a:pt x="1252912" y="37808"/>
                  </a:lnTo>
                  <a:lnTo>
                    <a:pt x="1252912" y="33322"/>
                  </a:lnTo>
                  <a:close/>
                </a:path>
              </a:pathLst>
            </a:custGeom>
            <a:solidFill>
              <a:srgbClr val="737373"/>
            </a:solidFill>
          </p:spPr>
          <p:txBody>
            <a:bodyPr wrap="square" lIns="0" tIns="0" rIns="0" bIns="0" rtlCol="0"/>
            <a:lstStyle/>
            <a:p>
              <a:pPr defTabSz="277200"/>
              <a:endParaRPr sz="1091">
                <a:solidFill>
                  <a:prstClr val="black"/>
                </a:solidFill>
                <a:latin typeface="Calibri" panose="020F0502020204030204"/>
              </a:endParaRPr>
            </a:p>
          </p:txBody>
        </p:sp>
        <p:sp>
          <p:nvSpPr>
            <p:cNvPr id="8" name="object 6">
              <a:extLst>
                <a:ext uri="{FF2B5EF4-FFF2-40B4-BE49-F238E27FC236}">
                  <a16:creationId xmlns:a16="http://schemas.microsoft.com/office/drawing/2014/main" id="{5A7E24F7-DBF2-4947-8B69-EB76C67F5A72}"/>
                </a:ext>
              </a:extLst>
            </p:cNvPr>
            <p:cNvSpPr/>
            <p:nvPr/>
          </p:nvSpPr>
          <p:spPr>
            <a:xfrm>
              <a:off x="964293" y="492424"/>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EF5124"/>
            </a:solidFill>
          </p:spPr>
          <p:txBody>
            <a:bodyPr wrap="square" lIns="0" tIns="0" rIns="0" bIns="0" rtlCol="0"/>
            <a:lstStyle/>
            <a:p>
              <a:pPr defTabSz="277200"/>
              <a:endParaRPr sz="1091">
                <a:solidFill>
                  <a:prstClr val="black"/>
                </a:solidFill>
                <a:latin typeface="Calibri" panose="020F0502020204030204"/>
              </a:endParaRPr>
            </a:p>
          </p:txBody>
        </p:sp>
        <p:sp>
          <p:nvSpPr>
            <p:cNvPr id="9" name="object 7">
              <a:extLst>
                <a:ext uri="{FF2B5EF4-FFF2-40B4-BE49-F238E27FC236}">
                  <a16:creationId xmlns:a16="http://schemas.microsoft.com/office/drawing/2014/main" id="{E7122758-B995-7D4A-83DE-116514C8E540}"/>
                </a:ext>
              </a:extLst>
            </p:cNvPr>
            <p:cNvSpPr/>
            <p:nvPr/>
          </p:nvSpPr>
          <p:spPr>
            <a:xfrm>
              <a:off x="1173752" y="492424"/>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7EBA42"/>
            </a:solidFill>
          </p:spPr>
          <p:txBody>
            <a:bodyPr wrap="square" lIns="0" tIns="0" rIns="0" bIns="0" rtlCol="0"/>
            <a:lstStyle/>
            <a:p>
              <a:pPr defTabSz="277200"/>
              <a:endParaRPr sz="1091">
                <a:solidFill>
                  <a:prstClr val="black"/>
                </a:solidFill>
                <a:latin typeface="Calibri" panose="020F0502020204030204"/>
              </a:endParaRPr>
            </a:p>
          </p:txBody>
        </p:sp>
        <p:sp>
          <p:nvSpPr>
            <p:cNvPr id="10" name="object 8">
              <a:extLst>
                <a:ext uri="{FF2B5EF4-FFF2-40B4-BE49-F238E27FC236}">
                  <a16:creationId xmlns:a16="http://schemas.microsoft.com/office/drawing/2014/main" id="{E34EFC6F-B379-C64B-AF82-854532B36055}"/>
                </a:ext>
              </a:extLst>
            </p:cNvPr>
            <p:cNvSpPr/>
            <p:nvPr/>
          </p:nvSpPr>
          <p:spPr>
            <a:xfrm>
              <a:off x="964293" y="701871"/>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309FDA"/>
            </a:solidFill>
          </p:spPr>
          <p:txBody>
            <a:bodyPr wrap="square" lIns="0" tIns="0" rIns="0" bIns="0" rtlCol="0"/>
            <a:lstStyle/>
            <a:p>
              <a:pPr defTabSz="277200"/>
              <a:endParaRPr sz="1091">
                <a:solidFill>
                  <a:prstClr val="black"/>
                </a:solidFill>
                <a:latin typeface="Calibri" panose="020F0502020204030204"/>
              </a:endParaRPr>
            </a:p>
          </p:txBody>
        </p:sp>
        <p:sp>
          <p:nvSpPr>
            <p:cNvPr id="11" name="object 9">
              <a:extLst>
                <a:ext uri="{FF2B5EF4-FFF2-40B4-BE49-F238E27FC236}">
                  <a16:creationId xmlns:a16="http://schemas.microsoft.com/office/drawing/2014/main" id="{0E14BFEE-5121-5042-BCEC-49B5407C4700}"/>
                </a:ext>
              </a:extLst>
            </p:cNvPr>
            <p:cNvSpPr/>
            <p:nvPr/>
          </p:nvSpPr>
          <p:spPr>
            <a:xfrm>
              <a:off x="1173752" y="701871"/>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FCB813"/>
            </a:solidFill>
          </p:spPr>
          <p:txBody>
            <a:bodyPr wrap="square" lIns="0" tIns="0" rIns="0" bIns="0" rtlCol="0"/>
            <a:lstStyle/>
            <a:p>
              <a:pPr defTabSz="277200"/>
              <a:endParaRPr sz="1091">
                <a:solidFill>
                  <a:prstClr val="black"/>
                </a:solidFill>
                <a:latin typeface="Calibri" panose="020F0502020204030204"/>
              </a:endParaRPr>
            </a:p>
          </p:txBody>
        </p:sp>
      </p:grpSp>
    </p:spTree>
    <p:extLst>
      <p:ext uri="{BB962C8B-B14F-4D97-AF65-F5344CB8AC3E}">
        <p14:creationId xmlns:p14="http://schemas.microsoft.com/office/powerpoint/2010/main" val="12419869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F64145-8740-4DB8-9C2B-70A7876C3806}"/>
              </a:ext>
            </a:extLst>
          </p:cNvPr>
          <p:cNvSpPr>
            <a:spLocks noGrp="1"/>
          </p:cNvSpPr>
          <p:nvPr>
            <p:ph type="title"/>
          </p:nvPr>
        </p:nvSpPr>
        <p:spPr/>
        <p:txBody>
          <a:bodyPr/>
          <a:lstStyle/>
          <a:p>
            <a:r>
              <a:rPr lang="en-US">
                <a:ea typeface="+mj-lt"/>
                <a:cs typeface="+mj-lt"/>
              </a:rPr>
              <a:t>2. </a:t>
            </a:r>
            <a:br>
              <a:rPr lang="en-US">
                <a:ea typeface="+mj-lt"/>
                <a:cs typeface="+mj-lt"/>
              </a:rPr>
            </a:br>
            <a:r>
              <a:rPr lang="en-US">
                <a:ea typeface="+mj-lt"/>
                <a:cs typeface="+mj-lt"/>
              </a:rPr>
              <a:t>Use Azure Migrate as the tool </a:t>
            </a:r>
            <a:endParaRPr lang="zh-TW"/>
          </a:p>
        </p:txBody>
      </p:sp>
    </p:spTree>
    <p:extLst>
      <p:ext uri="{BB962C8B-B14F-4D97-AF65-F5344CB8AC3E}">
        <p14:creationId xmlns:p14="http://schemas.microsoft.com/office/powerpoint/2010/main" val="373670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AE53219-7D78-4B69-8BAC-6E7D81D87A9F}"/>
              </a:ext>
            </a:extLst>
          </p:cNvPr>
          <p:cNvSpPr>
            <a:spLocks noGrp="1"/>
          </p:cNvSpPr>
          <p:nvPr>
            <p:ph type="title"/>
          </p:nvPr>
        </p:nvSpPr>
        <p:spPr>
          <a:xfrm>
            <a:off x="788643" y="404890"/>
            <a:ext cx="10739328" cy="615553"/>
          </a:xfrm>
        </p:spPr>
        <p:txBody>
          <a:bodyPr/>
          <a:lstStyle/>
          <a:p>
            <a:r>
              <a:rPr lang="en-US">
                <a:solidFill>
                  <a:schemeClr val="accent2"/>
                </a:solidFill>
                <a:cs typeface="Segoe UI"/>
              </a:rPr>
              <a:t>Perform your migration with Azure Migrate</a:t>
            </a:r>
          </a:p>
        </p:txBody>
      </p:sp>
      <p:sp>
        <p:nvSpPr>
          <p:cNvPr id="9" name="Text Placeholder 8">
            <a:extLst>
              <a:ext uri="{FF2B5EF4-FFF2-40B4-BE49-F238E27FC236}">
                <a16:creationId xmlns:a16="http://schemas.microsoft.com/office/drawing/2014/main" id="{AEE6E695-C258-4FC1-B698-87449DD17AE4}"/>
              </a:ext>
            </a:extLst>
          </p:cNvPr>
          <p:cNvSpPr>
            <a:spLocks noGrp="1"/>
          </p:cNvSpPr>
          <p:nvPr>
            <p:ph type="body" sz="quarter" idx="11"/>
          </p:nvPr>
        </p:nvSpPr>
        <p:spPr>
          <a:xfrm>
            <a:off x="788643" y="1635996"/>
            <a:ext cx="5035214" cy="2160591"/>
          </a:xfrm>
        </p:spPr>
        <p:txBody>
          <a:bodyPr vert="horz" wrap="square" lIns="0" tIns="0" rIns="0" bIns="0" rtlCol="0" anchor="t">
            <a:spAutoFit/>
          </a:bodyPr>
          <a:lstStyle/>
          <a:p>
            <a:r>
              <a:rPr lang="en-US" sz="1800" b="1">
                <a:solidFill>
                  <a:schemeClr val="accent2"/>
                </a:solidFill>
                <a:cs typeface="Segoe UI Semilight"/>
              </a:rPr>
              <a:t>Step 1:</a:t>
            </a:r>
            <a:r>
              <a:rPr lang="en-US" sz="1800" b="1">
                <a:solidFill>
                  <a:schemeClr val="bg1"/>
                </a:solidFill>
                <a:cs typeface="Segoe UI Semilight"/>
              </a:rPr>
              <a:t> </a:t>
            </a:r>
            <a:r>
              <a:rPr lang="en-US" sz="1800">
                <a:solidFill>
                  <a:schemeClr val="bg1"/>
                </a:solidFill>
                <a:cs typeface="Segoe UI Semilight"/>
              </a:rPr>
              <a:t>Discover your on-prem or other cloud datacenter environment</a:t>
            </a:r>
          </a:p>
          <a:p>
            <a:endParaRPr lang="en-US" sz="1800">
              <a:solidFill>
                <a:schemeClr val="bg1"/>
              </a:solidFill>
              <a:cs typeface="Segoe UI Semilight"/>
            </a:endParaRPr>
          </a:p>
          <a:p>
            <a:r>
              <a:rPr lang="en-US" sz="1800" b="1">
                <a:solidFill>
                  <a:schemeClr val="accent2"/>
                </a:solidFill>
                <a:ea typeface="+mn-lt"/>
                <a:cs typeface="Segoe UI Semilight"/>
              </a:rPr>
              <a:t>Step 2: </a:t>
            </a:r>
            <a:r>
              <a:rPr lang="en-US" sz="1800">
                <a:solidFill>
                  <a:schemeClr val="bg1"/>
                </a:solidFill>
                <a:ea typeface="+mn-lt"/>
                <a:cs typeface="Segoe UI Semilight"/>
              </a:rPr>
              <a:t>Assess dependencies, Azure readiness, costs, and Azure sizing</a:t>
            </a:r>
          </a:p>
          <a:p>
            <a:endParaRPr lang="en-US" sz="1800">
              <a:solidFill>
                <a:schemeClr val="bg1"/>
              </a:solidFill>
              <a:ea typeface="+mn-lt"/>
              <a:cs typeface="Segoe UI Semilight"/>
            </a:endParaRPr>
          </a:p>
          <a:p>
            <a:r>
              <a:rPr lang="en-US" sz="1800" b="1">
                <a:solidFill>
                  <a:schemeClr val="accent2"/>
                </a:solidFill>
                <a:ea typeface="+mn-lt"/>
                <a:cs typeface="Segoe UI Semilight"/>
              </a:rPr>
              <a:t>Step 3: </a:t>
            </a:r>
            <a:r>
              <a:rPr lang="en-US" sz="1800">
                <a:solidFill>
                  <a:schemeClr val="bg1"/>
                </a:solidFill>
                <a:ea typeface="+mn-lt"/>
                <a:cs typeface="Segoe UI Semilight"/>
              </a:rPr>
              <a:t>Test and migrate workloads to Azure </a:t>
            </a:r>
            <a:endParaRPr lang="en-US" sz="1800">
              <a:solidFill>
                <a:schemeClr val="bg1"/>
              </a:solidFill>
              <a:ea typeface="+mn-lt"/>
              <a:cs typeface="+mn-lt"/>
            </a:endParaRPr>
          </a:p>
        </p:txBody>
      </p:sp>
      <p:sp>
        <p:nvSpPr>
          <p:cNvPr id="3" name="TextBox 2">
            <a:extLst>
              <a:ext uri="{FF2B5EF4-FFF2-40B4-BE49-F238E27FC236}">
                <a16:creationId xmlns:a16="http://schemas.microsoft.com/office/drawing/2014/main" id="{CC9D09BB-8C8A-4B42-A74D-1788329CDA9F}"/>
              </a:ext>
            </a:extLst>
          </p:cNvPr>
          <p:cNvSpPr txBox="1"/>
          <p:nvPr/>
        </p:nvSpPr>
        <p:spPr>
          <a:xfrm>
            <a:off x="788643" y="5037338"/>
            <a:ext cx="7212357" cy="369332"/>
          </a:xfrm>
          <a:prstGeom prst="rect">
            <a:avLst/>
          </a:prstGeom>
          <a:noFill/>
        </p:spPr>
        <p:txBody>
          <a:bodyPr wrap="square" lIns="0" tIns="0" rIns="0" bIns="0" rtlCol="0">
            <a:spAutoFit/>
          </a:bodyPr>
          <a:lstStyle/>
          <a:p>
            <a:pPr algn="l"/>
            <a:r>
              <a:rPr lang="en-US" sz="2400" b="1">
                <a:solidFill>
                  <a:schemeClr val="accent2"/>
                </a:solidFill>
              </a:rPr>
              <a:t>Get Started</a:t>
            </a:r>
          </a:p>
        </p:txBody>
      </p:sp>
      <p:sp>
        <p:nvSpPr>
          <p:cNvPr id="12" name="TextBox 11">
            <a:extLst>
              <a:ext uri="{FF2B5EF4-FFF2-40B4-BE49-F238E27FC236}">
                <a16:creationId xmlns:a16="http://schemas.microsoft.com/office/drawing/2014/main" id="{B6A0D219-90DD-401C-A68E-EDE9C12BF4FD}"/>
              </a:ext>
            </a:extLst>
          </p:cNvPr>
          <p:cNvSpPr txBox="1"/>
          <p:nvPr/>
        </p:nvSpPr>
        <p:spPr>
          <a:xfrm>
            <a:off x="712442" y="5549749"/>
            <a:ext cx="8888757" cy="646331"/>
          </a:xfrm>
          <a:prstGeom prst="rect">
            <a:avLst/>
          </a:prstGeom>
          <a:noFill/>
        </p:spPr>
        <p:txBody>
          <a:bodyPr wrap="square">
            <a:spAutoFit/>
          </a:bodyPr>
          <a:lstStyle/>
          <a:p>
            <a:r>
              <a:rPr lang="en-US" sz="1800">
                <a:solidFill>
                  <a:schemeClr val="bg1"/>
                </a:solidFill>
                <a:cs typeface="Segoe UI Semilight"/>
              </a:rPr>
              <a:t>Launch Azure Migrate from the Azure portal to run a free assessment today</a:t>
            </a:r>
          </a:p>
          <a:p>
            <a:r>
              <a:rPr lang="en-US" sz="1800">
                <a:solidFill>
                  <a:schemeClr val="bg1"/>
                </a:solidFill>
                <a:cs typeface="Segoe UI Semilight"/>
              </a:rPr>
              <a:t>Learn more at </a:t>
            </a:r>
            <a:r>
              <a:rPr lang="en-US" sz="1800">
                <a:solidFill>
                  <a:schemeClr val="accent2"/>
                </a:solidFill>
                <a:cs typeface="Segoe UI Semilight"/>
              </a:rPr>
              <a:t>aka.ms/</a:t>
            </a:r>
            <a:r>
              <a:rPr lang="en-US" sz="1800" err="1">
                <a:solidFill>
                  <a:schemeClr val="accent2"/>
                </a:solidFill>
                <a:cs typeface="Segoe UI Semilight"/>
              </a:rPr>
              <a:t>azuremigrate</a:t>
            </a:r>
            <a:endParaRPr lang="en-US">
              <a:solidFill>
                <a:schemeClr val="accent2"/>
              </a:solidFill>
            </a:endParaRPr>
          </a:p>
        </p:txBody>
      </p:sp>
      <p:pic>
        <p:nvPicPr>
          <p:cNvPr id="10" name="Picture 9" descr="A screenshot of a cell phone&#10;&#10;Description automatically generated">
            <a:extLst>
              <a:ext uri="{FF2B5EF4-FFF2-40B4-BE49-F238E27FC236}">
                <a16:creationId xmlns:a16="http://schemas.microsoft.com/office/drawing/2014/main" id="{2F330305-D32D-45BD-B441-CCA44B65FA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01440" y="1512298"/>
            <a:ext cx="6941554" cy="3525039"/>
          </a:xfrm>
          <a:prstGeom prst="rect">
            <a:avLst/>
          </a:prstGeom>
        </p:spPr>
      </p:pic>
    </p:spTree>
    <p:extLst>
      <p:ext uri="{BB962C8B-B14F-4D97-AF65-F5344CB8AC3E}">
        <p14:creationId xmlns:p14="http://schemas.microsoft.com/office/powerpoint/2010/main" val="25137995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BDCC0-3427-423B-8625-26381885E578}"/>
              </a:ext>
            </a:extLst>
          </p:cNvPr>
          <p:cNvSpPr>
            <a:spLocks noGrp="1"/>
          </p:cNvSpPr>
          <p:nvPr>
            <p:ph type="title"/>
          </p:nvPr>
        </p:nvSpPr>
        <p:spPr/>
        <p:txBody>
          <a:bodyPr/>
          <a:lstStyle/>
          <a:p>
            <a:r>
              <a:rPr lang="en-US">
                <a:ea typeface="+mj-lt"/>
                <a:cs typeface="+mj-lt"/>
              </a:rPr>
              <a:t>3. </a:t>
            </a:r>
            <a:br>
              <a:rPr lang="en-US">
                <a:ea typeface="+mj-lt"/>
                <a:cs typeface="+mj-lt"/>
              </a:rPr>
            </a:br>
            <a:r>
              <a:rPr lang="en-US">
                <a:ea typeface="+mj-lt"/>
                <a:cs typeface="+mj-lt"/>
              </a:rPr>
              <a:t>Benefit from the Azure Migration Program</a:t>
            </a:r>
            <a:endParaRPr lang="zh-TW"/>
          </a:p>
        </p:txBody>
      </p:sp>
    </p:spTree>
    <p:extLst>
      <p:ext uri="{BB962C8B-B14F-4D97-AF65-F5344CB8AC3E}">
        <p14:creationId xmlns:p14="http://schemas.microsoft.com/office/powerpoint/2010/main" val="336976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sp>
        <p:nvSpPr>
          <p:cNvPr id="109" name="Title 108">
            <a:extLst>
              <a:ext uri="{FF2B5EF4-FFF2-40B4-BE49-F238E27FC236}">
                <a16:creationId xmlns:a16="http://schemas.microsoft.com/office/drawing/2014/main" id="{A983B553-B6C3-4907-AEEB-83409A62B21F}"/>
              </a:ext>
            </a:extLst>
          </p:cNvPr>
          <p:cNvSpPr txBox="1">
            <a:spLocks noGrp="1"/>
          </p:cNvSpPr>
          <p:nvPr>
            <p:ph type="title" idx="4294967295"/>
          </p:nvPr>
        </p:nvSpPr>
        <p:spPr>
          <a:xfrm>
            <a:off x="16657" y="476034"/>
            <a:ext cx="11984512"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49" normalizeH="0" baseline="0" noProof="0" dirty="0">
                <a:ln w="3175">
                  <a:noFill/>
                </a:ln>
                <a:solidFill>
                  <a:srgbClr val="50E6FF"/>
                </a:solidFill>
                <a:effectLst/>
                <a:uLnTx/>
                <a:uFillTx/>
                <a:latin typeface="Segoe UI Semibold"/>
                <a:ea typeface="+mn-ea"/>
                <a:cs typeface="Segoe UI"/>
              </a:rPr>
              <a:t>Azure Migration Program (AMP)</a:t>
            </a:r>
            <a:endParaRPr kumimoji="0" lang="en-IN" sz="3200" b="0" i="0" u="none" strike="noStrike" kern="1200" cap="none" spc="0" normalizeH="0" baseline="0" noProof="0" dirty="0">
              <a:ln>
                <a:noFill/>
              </a:ln>
              <a:solidFill>
                <a:srgbClr val="50E6FF"/>
              </a:solidFill>
              <a:effectLst/>
              <a:uLnTx/>
              <a:uFillTx/>
              <a:latin typeface="Segoe UI Semibold"/>
              <a:ea typeface="Segoe UI" pitchFamily="34" charset="0"/>
              <a:cs typeface="Segoe UI"/>
            </a:endParaRPr>
          </a:p>
        </p:txBody>
      </p:sp>
      <p:sp>
        <p:nvSpPr>
          <p:cNvPr id="111" name="TextBox 110">
            <a:extLst>
              <a:ext uri="{FF2B5EF4-FFF2-40B4-BE49-F238E27FC236}">
                <a16:creationId xmlns:a16="http://schemas.microsoft.com/office/drawing/2014/main" id="{C110B879-7B63-4DEC-A415-B01AA4535F9C}"/>
              </a:ext>
            </a:extLst>
          </p:cNvPr>
          <p:cNvSpPr txBox="1"/>
          <p:nvPr/>
        </p:nvSpPr>
        <p:spPr>
          <a:xfrm>
            <a:off x="1051824" y="1092602"/>
            <a:ext cx="9914177" cy="553998"/>
          </a:xfrm>
          <a:prstGeom prst="rect">
            <a:avLst/>
          </a:prstGeom>
        </p:spPr>
        <p:txBody>
          <a:bodyPr vert="horz" wrap="squar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Optimize costs and migrate with confidence with the right expert help at every stage. Use best-practice guidance, direct access to Azure engineers, tools, and specialized partners.  </a:t>
            </a:r>
          </a:p>
        </p:txBody>
      </p:sp>
      <p:sp>
        <p:nvSpPr>
          <p:cNvPr id="108" name="Rectangle 107">
            <a:extLst>
              <a:ext uri="{FF2B5EF4-FFF2-40B4-BE49-F238E27FC236}">
                <a16:creationId xmlns:a16="http://schemas.microsoft.com/office/drawing/2014/main" id="{DF3EDCA6-151B-4001-81D0-856E31D305F7}"/>
              </a:ext>
            </a:extLst>
          </p:cNvPr>
          <p:cNvSpPr/>
          <p:nvPr/>
        </p:nvSpPr>
        <p:spPr>
          <a:xfrm>
            <a:off x="3397666" y="5682557"/>
            <a:ext cx="5593808" cy="374793"/>
          </a:xfrm>
          <a:prstGeom prst="rect">
            <a:avLst/>
          </a:prstGeom>
          <a:ln>
            <a:noFill/>
          </a:ln>
        </p:spPr>
        <p:txBody>
          <a:bodyPr wrap="square" anchor="ctr">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mn-cs"/>
              </a:rPr>
              <a:t>Learn more &amp; nominate </a:t>
            </a:r>
            <a:r>
              <a:rPr kumimoji="0" lang="en-US" sz="1800" b="0" i="0" u="none" strike="noStrike" kern="1200" cap="none" spc="0" normalizeH="0" baseline="0" noProof="0">
                <a:ln>
                  <a:noFill/>
                </a:ln>
                <a:gradFill>
                  <a:gsLst>
                    <a:gs pos="1250">
                      <a:srgbClr val="000000">
                        <a:lumMod val="75000"/>
                        <a:lumOff val="25000"/>
                      </a:srgbClr>
                    </a:gs>
                    <a:gs pos="100000">
                      <a:srgbClr val="000000">
                        <a:lumMod val="75000"/>
                        <a:lumOff val="25000"/>
                      </a:srgbClr>
                    </a:gs>
                  </a:gsLst>
                  <a:lin ang="5400000" scaled="0"/>
                </a:gradFill>
                <a:effectLst/>
                <a:uLnTx/>
                <a:uFillTx/>
                <a:latin typeface="Segoe UI Semibold"/>
                <a:ea typeface="+mn-ea"/>
                <a:cs typeface="+mn-cs"/>
              </a:rPr>
              <a:t>|</a:t>
            </a: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mn-cs"/>
              </a:rPr>
              <a:t>  </a:t>
            </a:r>
            <a:r>
              <a:rPr kumimoji="0" lang="en-US" sz="1800" b="0" i="0" u="none" strike="noStrike" kern="1200" cap="none" spc="0" normalizeH="0" baseline="0" noProof="0">
                <a:ln>
                  <a:noFill/>
                </a:ln>
                <a:gradFill>
                  <a:gsLst>
                    <a:gs pos="0">
                      <a:srgbClr val="50E6FF"/>
                    </a:gs>
                    <a:gs pos="100000">
                      <a:srgbClr val="50E6FF"/>
                    </a:gs>
                  </a:gsLst>
                  <a:lin ang="5400000" scaled="0"/>
                </a:gradFill>
                <a:effectLst/>
                <a:uLnTx/>
                <a:uFillTx/>
                <a:latin typeface="Segoe UI Semibold"/>
                <a:ea typeface="+mn-ea"/>
                <a:cs typeface="+mn-cs"/>
              </a:rPr>
              <a:t>Azure.com/AMP</a:t>
            </a:r>
          </a:p>
        </p:txBody>
      </p:sp>
      <p:grpSp>
        <p:nvGrpSpPr>
          <p:cNvPr id="126" name="Group 125" descr="table of Azure migration program">
            <a:extLst>
              <a:ext uri="{FF2B5EF4-FFF2-40B4-BE49-F238E27FC236}">
                <a16:creationId xmlns:a16="http://schemas.microsoft.com/office/drawing/2014/main" id="{DE930445-9675-480B-87C4-84F46EA52F6E}"/>
              </a:ext>
            </a:extLst>
          </p:cNvPr>
          <p:cNvGrpSpPr/>
          <p:nvPr/>
        </p:nvGrpSpPr>
        <p:grpSpPr>
          <a:xfrm>
            <a:off x="2133838" y="2416756"/>
            <a:ext cx="8720103" cy="885316"/>
            <a:chOff x="2453763" y="2497594"/>
            <a:chExt cx="8721340" cy="885441"/>
          </a:xfrm>
        </p:grpSpPr>
        <p:sp>
          <p:nvSpPr>
            <p:cNvPr id="127" name="Rectangle 126">
              <a:extLst>
                <a:ext uri="{FF2B5EF4-FFF2-40B4-BE49-F238E27FC236}">
                  <a16:creationId xmlns:a16="http://schemas.microsoft.com/office/drawing/2014/main" id="{C16391B4-E1DA-4ADF-BF75-5C748C78E56D}"/>
                </a:ext>
              </a:extLst>
            </p:cNvPr>
            <p:cNvSpPr/>
            <p:nvPr/>
          </p:nvSpPr>
          <p:spPr bwMode="auto">
            <a:xfrm>
              <a:off x="2453763" y="2497594"/>
              <a:ext cx="4308296"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Proven methodology: Cloud Adoption Framework</a:t>
              </a:r>
            </a:p>
          </p:txBody>
        </p:sp>
        <p:sp>
          <p:nvSpPr>
            <p:cNvPr id="128" name="Rectangle 127">
              <a:extLst>
                <a:ext uri="{FF2B5EF4-FFF2-40B4-BE49-F238E27FC236}">
                  <a16:creationId xmlns:a16="http://schemas.microsoft.com/office/drawing/2014/main" id="{AB944FEE-79AC-4BE9-8F37-8B809CE7F63D}"/>
                </a:ext>
              </a:extLst>
            </p:cNvPr>
            <p:cNvSpPr/>
            <p:nvPr/>
          </p:nvSpPr>
          <p:spPr bwMode="auto">
            <a:xfrm>
              <a:off x="6786920" y="2497594"/>
              <a:ext cx="4388183"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ree tools: Azure Migrate</a:t>
              </a:r>
            </a:p>
          </p:txBody>
        </p:sp>
        <p:grpSp>
          <p:nvGrpSpPr>
            <p:cNvPr id="129" name="dev testing" descr="dev testing">
              <a:extLst>
                <a:ext uri="{FF2B5EF4-FFF2-40B4-BE49-F238E27FC236}">
                  <a16:creationId xmlns:a16="http://schemas.microsoft.com/office/drawing/2014/main" id="{66327CA7-FEEB-4887-A517-873E0C1D6E0B}"/>
                </a:ext>
              </a:extLst>
            </p:cNvPr>
            <p:cNvGrpSpPr>
              <a:grpSpLocks noChangeAspect="1"/>
            </p:cNvGrpSpPr>
            <p:nvPr/>
          </p:nvGrpSpPr>
          <p:grpSpPr bwMode="auto">
            <a:xfrm>
              <a:off x="6793127" y="2757846"/>
              <a:ext cx="435074" cy="364938"/>
              <a:chOff x="448" y="808"/>
              <a:chExt cx="262" cy="235"/>
            </a:xfrm>
          </p:grpSpPr>
          <p:sp>
            <p:nvSpPr>
              <p:cNvPr id="141" name="AutoShape 3">
                <a:extLst>
                  <a:ext uri="{FF2B5EF4-FFF2-40B4-BE49-F238E27FC236}">
                    <a16:creationId xmlns:a16="http://schemas.microsoft.com/office/drawing/2014/main" id="{FFE11C55-AADB-44C8-AC37-81397F48883E}"/>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Rectangle 5">
                <a:extLst>
                  <a:ext uri="{FF2B5EF4-FFF2-40B4-BE49-F238E27FC236}">
                    <a16:creationId xmlns:a16="http://schemas.microsoft.com/office/drawing/2014/main" id="{9BE5B8BB-45B8-402B-9E2E-202D7A8C2F53}"/>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3" name="Rectangle 6">
                <a:extLst>
                  <a:ext uri="{FF2B5EF4-FFF2-40B4-BE49-F238E27FC236}">
                    <a16:creationId xmlns:a16="http://schemas.microsoft.com/office/drawing/2014/main" id="{B64B8368-E18D-4D38-B355-54FE8CECD9B0}"/>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Rectangle 7">
                <a:extLst>
                  <a:ext uri="{FF2B5EF4-FFF2-40B4-BE49-F238E27FC236}">
                    <a16:creationId xmlns:a16="http://schemas.microsoft.com/office/drawing/2014/main" id="{516589BA-F51E-4EF3-AA5B-C273C811EDB2}"/>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8">
                <a:extLst>
                  <a:ext uri="{FF2B5EF4-FFF2-40B4-BE49-F238E27FC236}">
                    <a16:creationId xmlns:a16="http://schemas.microsoft.com/office/drawing/2014/main" id="{27F80532-1E8C-42F0-BB9C-6C7D1A183D82}"/>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9">
                <a:extLst>
                  <a:ext uri="{FF2B5EF4-FFF2-40B4-BE49-F238E27FC236}">
                    <a16:creationId xmlns:a16="http://schemas.microsoft.com/office/drawing/2014/main" id="{89051D13-A9E5-4849-8BBF-93995B8037E1}"/>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10">
                <a:extLst>
                  <a:ext uri="{FF2B5EF4-FFF2-40B4-BE49-F238E27FC236}">
                    <a16:creationId xmlns:a16="http://schemas.microsoft.com/office/drawing/2014/main" id="{B5117FCC-2FE8-4DD2-A6C8-428399A686FC}"/>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1">
                <a:extLst>
                  <a:ext uri="{FF2B5EF4-FFF2-40B4-BE49-F238E27FC236}">
                    <a16:creationId xmlns:a16="http://schemas.microsoft.com/office/drawing/2014/main" id="{DCC5E819-2720-4C60-AAA5-7C2E61089116}"/>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9" name="Rectangle 12">
                <a:extLst>
                  <a:ext uri="{FF2B5EF4-FFF2-40B4-BE49-F238E27FC236}">
                    <a16:creationId xmlns:a16="http://schemas.microsoft.com/office/drawing/2014/main" id="{EB0BBE60-C08D-4B7B-97E8-C262A30775F0}"/>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0" name="Rectangle 13">
                <a:extLst>
                  <a:ext uri="{FF2B5EF4-FFF2-40B4-BE49-F238E27FC236}">
                    <a16:creationId xmlns:a16="http://schemas.microsoft.com/office/drawing/2014/main" id="{25CFD59F-A38D-494C-8037-C7DF9C0E5E52}"/>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Rectangle 14">
                <a:extLst>
                  <a:ext uri="{FF2B5EF4-FFF2-40B4-BE49-F238E27FC236}">
                    <a16:creationId xmlns:a16="http://schemas.microsoft.com/office/drawing/2014/main" id="{91540987-4B80-4254-9AFA-08E0BAA38EBA}"/>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Rectangle 15">
                <a:extLst>
                  <a:ext uri="{FF2B5EF4-FFF2-40B4-BE49-F238E27FC236}">
                    <a16:creationId xmlns:a16="http://schemas.microsoft.com/office/drawing/2014/main" id="{B0BD884D-950E-4548-A6CC-133557AA3C56}"/>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Rectangle 16">
                <a:extLst>
                  <a:ext uri="{FF2B5EF4-FFF2-40B4-BE49-F238E27FC236}">
                    <a16:creationId xmlns:a16="http://schemas.microsoft.com/office/drawing/2014/main" id="{8F8B0279-B86A-4FA7-83F6-CDBFB505F19E}"/>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0" name="modular 1" descr="modular">
              <a:extLst>
                <a:ext uri="{FF2B5EF4-FFF2-40B4-BE49-F238E27FC236}">
                  <a16:creationId xmlns:a16="http://schemas.microsoft.com/office/drawing/2014/main" id="{7C8FD92D-57C4-4D50-99EB-74D6804E0573}"/>
                </a:ext>
              </a:extLst>
            </p:cNvPr>
            <p:cNvGrpSpPr/>
            <p:nvPr/>
          </p:nvGrpSpPr>
          <p:grpSpPr>
            <a:xfrm>
              <a:off x="2497822" y="2745127"/>
              <a:ext cx="417438" cy="390376"/>
              <a:chOff x="3557434" y="2181241"/>
              <a:chExt cx="406193" cy="406193"/>
            </a:xfrm>
          </p:grpSpPr>
          <p:sp>
            <p:nvSpPr>
              <p:cNvPr id="131" name="Rectangle 458">
                <a:extLst>
                  <a:ext uri="{FF2B5EF4-FFF2-40B4-BE49-F238E27FC236}">
                    <a16:creationId xmlns:a16="http://schemas.microsoft.com/office/drawing/2014/main" id="{6C900AD9-B964-40DD-A1EF-D4D23F84EE81}"/>
                  </a:ext>
                </a:extLst>
              </p:cNvPr>
              <p:cNvSpPr>
                <a:spLocks noChangeArrowheads="1"/>
              </p:cNvSpPr>
              <p:nvPr/>
            </p:nvSpPr>
            <p:spPr bwMode="auto">
              <a:xfrm>
                <a:off x="3557434" y="2181241"/>
                <a:ext cx="406193"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459">
                <a:extLst>
                  <a:ext uri="{FF2B5EF4-FFF2-40B4-BE49-F238E27FC236}">
                    <a16:creationId xmlns:a16="http://schemas.microsoft.com/office/drawing/2014/main" id="{B33F1DFE-42FA-4BA7-B884-32F9981E09E6}"/>
                  </a:ext>
                </a:extLst>
              </p:cNvPr>
              <p:cNvSpPr>
                <a:spLocks noChangeArrowheads="1"/>
              </p:cNvSpPr>
              <p:nvPr/>
            </p:nvSpPr>
            <p:spPr bwMode="auto">
              <a:xfrm>
                <a:off x="3557434" y="2223261"/>
                <a:ext cx="406193" cy="14940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460">
                <a:extLst>
                  <a:ext uri="{FF2B5EF4-FFF2-40B4-BE49-F238E27FC236}">
                    <a16:creationId xmlns:a16="http://schemas.microsoft.com/office/drawing/2014/main" id="{BCC57F00-1C17-4BAC-8EF0-E9CE6B0EEDBF}"/>
                  </a:ext>
                </a:extLst>
              </p:cNvPr>
              <p:cNvSpPr>
                <a:spLocks noChangeArrowheads="1"/>
              </p:cNvSpPr>
              <p:nvPr/>
            </p:nvSpPr>
            <p:spPr bwMode="auto">
              <a:xfrm>
                <a:off x="3557434" y="2394454"/>
                <a:ext cx="85597"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461">
                <a:extLst>
                  <a:ext uri="{FF2B5EF4-FFF2-40B4-BE49-F238E27FC236}">
                    <a16:creationId xmlns:a16="http://schemas.microsoft.com/office/drawing/2014/main" id="{F910D024-CA69-4549-B518-217B0DCD8953}"/>
                  </a:ext>
                </a:extLst>
              </p:cNvPr>
              <p:cNvSpPr>
                <a:spLocks noChangeArrowheads="1"/>
              </p:cNvSpPr>
              <p:nvPr/>
            </p:nvSpPr>
            <p:spPr bwMode="auto">
              <a:xfrm>
                <a:off x="3664818" y="2394454"/>
                <a:ext cx="84040"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462">
                <a:extLst>
                  <a:ext uri="{FF2B5EF4-FFF2-40B4-BE49-F238E27FC236}">
                    <a16:creationId xmlns:a16="http://schemas.microsoft.com/office/drawing/2014/main" id="{4C1BAE72-45BE-45B3-AA8B-E9088334BB5E}"/>
                  </a:ext>
                </a:extLst>
              </p:cNvPr>
              <p:cNvSpPr>
                <a:spLocks noChangeArrowheads="1"/>
              </p:cNvSpPr>
              <p:nvPr/>
            </p:nvSpPr>
            <p:spPr bwMode="auto">
              <a:xfrm>
                <a:off x="3770646"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463">
                <a:extLst>
                  <a:ext uri="{FF2B5EF4-FFF2-40B4-BE49-F238E27FC236}">
                    <a16:creationId xmlns:a16="http://schemas.microsoft.com/office/drawing/2014/main" id="{B86B426D-216A-487C-BCB7-6B078E754070}"/>
                  </a:ext>
                </a:extLst>
              </p:cNvPr>
              <p:cNvSpPr>
                <a:spLocks noChangeArrowheads="1"/>
              </p:cNvSpPr>
              <p:nvPr/>
            </p:nvSpPr>
            <p:spPr bwMode="auto">
              <a:xfrm>
                <a:off x="3878030"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464">
                <a:extLst>
                  <a:ext uri="{FF2B5EF4-FFF2-40B4-BE49-F238E27FC236}">
                    <a16:creationId xmlns:a16="http://schemas.microsoft.com/office/drawing/2014/main" id="{33D5BF1B-9F01-446B-BFAE-6EF00B624841}"/>
                  </a:ext>
                </a:extLst>
              </p:cNvPr>
              <p:cNvSpPr>
                <a:spLocks noChangeArrowheads="1"/>
              </p:cNvSpPr>
              <p:nvPr/>
            </p:nvSpPr>
            <p:spPr bwMode="auto">
              <a:xfrm>
                <a:off x="3557434" y="2501837"/>
                <a:ext cx="191425"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465">
                <a:extLst>
                  <a:ext uri="{FF2B5EF4-FFF2-40B4-BE49-F238E27FC236}">
                    <a16:creationId xmlns:a16="http://schemas.microsoft.com/office/drawing/2014/main" id="{B271D1D5-A632-40F1-9A8F-0CC2143A2CC9}"/>
                  </a:ext>
                </a:extLst>
              </p:cNvPr>
              <p:cNvSpPr>
                <a:spLocks noChangeArrowheads="1"/>
              </p:cNvSpPr>
              <p:nvPr/>
            </p:nvSpPr>
            <p:spPr bwMode="auto">
              <a:xfrm>
                <a:off x="3770646" y="2501837"/>
                <a:ext cx="192980"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4" name="Group 153">
            <a:extLst>
              <a:ext uri="{FF2B5EF4-FFF2-40B4-BE49-F238E27FC236}">
                <a16:creationId xmlns:a16="http://schemas.microsoft.com/office/drawing/2014/main" id="{EE93242A-7D1F-401A-8BD6-CBDBA7BF3786}"/>
              </a:ext>
              <a:ext uri="{C183D7F6-B498-43B3-948B-1728B52AA6E4}">
                <adec:decorative xmlns:adec="http://schemas.microsoft.com/office/drawing/2017/decorative" val="1"/>
              </a:ext>
            </a:extLst>
          </p:cNvPr>
          <p:cNvGrpSpPr/>
          <p:nvPr/>
        </p:nvGrpSpPr>
        <p:grpSpPr>
          <a:xfrm>
            <a:off x="2133838" y="3291984"/>
            <a:ext cx="8688190" cy="885316"/>
            <a:chOff x="2453763" y="3372946"/>
            <a:chExt cx="8689422" cy="885441"/>
          </a:xfrm>
        </p:grpSpPr>
        <p:sp>
          <p:nvSpPr>
            <p:cNvPr id="155" name="Rectangle 154">
              <a:extLst>
                <a:ext uri="{FF2B5EF4-FFF2-40B4-BE49-F238E27FC236}">
                  <a16:creationId xmlns:a16="http://schemas.microsoft.com/office/drawing/2014/main" id="{B7914293-D635-44B3-A0AD-0E07653D64F1}"/>
                </a:ext>
              </a:extLst>
            </p:cNvPr>
            <p:cNvSpPr/>
            <p:nvPr/>
          </p:nvSpPr>
          <p:spPr bwMode="auto">
            <a:xfrm>
              <a:off x="2453763" y="3372946"/>
              <a:ext cx="3878407"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Cost-effective offers &amp; incentives</a:t>
              </a:r>
            </a:p>
          </p:txBody>
        </p:sp>
        <p:sp>
          <p:nvSpPr>
            <p:cNvPr id="156" name="Rectangle 155">
              <a:extLst>
                <a:ext uri="{FF2B5EF4-FFF2-40B4-BE49-F238E27FC236}">
                  <a16:creationId xmlns:a16="http://schemas.microsoft.com/office/drawing/2014/main" id="{71F6984E-DB2E-40B1-915E-2D2D01C3456A}"/>
                </a:ext>
              </a:extLst>
            </p:cNvPr>
            <p:cNvSpPr/>
            <p:nvPr/>
          </p:nvSpPr>
          <p:spPr bwMode="auto">
            <a:xfrm>
              <a:off x="6786921" y="3372946"/>
              <a:ext cx="4356264"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In-depth assistance from FastTrack for Azure engineers</a:t>
              </a:r>
            </a:p>
          </p:txBody>
        </p:sp>
        <p:grpSp>
          <p:nvGrpSpPr>
            <p:cNvPr id="157" name="Group 156">
              <a:extLst>
                <a:ext uri="{FF2B5EF4-FFF2-40B4-BE49-F238E27FC236}">
                  <a16:creationId xmlns:a16="http://schemas.microsoft.com/office/drawing/2014/main" id="{BE84BA97-5DCA-4CEC-B879-43B77FC41EF2}"/>
                </a:ext>
              </a:extLst>
            </p:cNvPr>
            <p:cNvGrpSpPr/>
            <p:nvPr/>
          </p:nvGrpSpPr>
          <p:grpSpPr>
            <a:xfrm>
              <a:off x="2457510" y="3564664"/>
              <a:ext cx="498062" cy="502004"/>
              <a:chOff x="9021415" y="2468324"/>
              <a:chExt cx="836453" cy="831199"/>
            </a:xfrm>
          </p:grpSpPr>
          <p:grpSp>
            <p:nvGrpSpPr>
              <p:cNvPr id="203" name="Group 202">
                <a:extLst>
                  <a:ext uri="{FF2B5EF4-FFF2-40B4-BE49-F238E27FC236}">
                    <a16:creationId xmlns:a16="http://schemas.microsoft.com/office/drawing/2014/main" id="{B04768E7-B7DB-4372-9B27-D3E566F0B1F7}"/>
                  </a:ext>
                </a:extLst>
              </p:cNvPr>
              <p:cNvGrpSpPr/>
              <p:nvPr/>
            </p:nvGrpSpPr>
            <p:grpSpPr>
              <a:xfrm flipH="1">
                <a:off x="9021415" y="2468324"/>
                <a:ext cx="836453" cy="831199"/>
                <a:chOff x="9021415" y="2468324"/>
                <a:chExt cx="836453" cy="831199"/>
              </a:xfrm>
            </p:grpSpPr>
            <p:sp>
              <p:nvSpPr>
                <p:cNvPr id="205" name="Freeform: Shape 204">
                  <a:extLst>
                    <a:ext uri="{FF2B5EF4-FFF2-40B4-BE49-F238E27FC236}">
                      <a16:creationId xmlns:a16="http://schemas.microsoft.com/office/drawing/2014/main" id="{547E8123-F4A6-4400-87AA-35908E88D021}"/>
                    </a:ext>
                  </a:extLst>
                </p:cNvPr>
                <p:cNvSpPr/>
                <p:nvPr/>
              </p:nvSpPr>
              <p:spPr>
                <a:xfrm>
                  <a:off x="9078661" y="2468324"/>
                  <a:ext cx="358729" cy="244986"/>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F7DF12C8-8E31-4CF3-9F66-7CAAED4443E8}"/>
                    </a:ext>
                  </a:extLst>
                </p:cNvPr>
                <p:cNvSpPr/>
                <p:nvPr/>
              </p:nvSpPr>
              <p:spPr>
                <a:xfrm>
                  <a:off x="9021415" y="2676089"/>
                  <a:ext cx="122493" cy="419974"/>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6E30F4E5-DD2A-4CDC-89FA-2E56547CE205}"/>
                    </a:ext>
                  </a:extLst>
                </p:cNvPr>
                <p:cNvSpPr/>
                <p:nvPr/>
              </p:nvSpPr>
              <p:spPr>
                <a:xfrm>
                  <a:off x="9078800" y="3053445"/>
                  <a:ext cx="358729" cy="244986"/>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1B5775A1-0843-45C2-887E-BC69CD776C82}"/>
                    </a:ext>
                  </a:extLst>
                </p:cNvPr>
                <p:cNvSpPr/>
                <p:nvPr/>
              </p:nvSpPr>
              <p:spPr>
                <a:xfrm>
                  <a:off x="9437894" y="2468324"/>
                  <a:ext cx="419974" cy="831199"/>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04" name="Freeform: Shape 203">
                <a:extLst>
                  <a:ext uri="{FF2B5EF4-FFF2-40B4-BE49-F238E27FC236}">
                    <a16:creationId xmlns:a16="http://schemas.microsoft.com/office/drawing/2014/main" id="{BE2400B8-AF5C-4C4F-9A3D-75A30C4EE3A9}"/>
                  </a:ext>
                </a:extLst>
              </p:cNvPr>
              <p:cNvSpPr/>
              <p:nvPr/>
            </p:nvSpPr>
            <p:spPr>
              <a:xfrm>
                <a:off x="9333054" y="2686035"/>
                <a:ext cx="209986" cy="393726"/>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chemeClr val="accent2"/>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8" name="extend" descr="extend, connect, datacenters">
              <a:extLst>
                <a:ext uri="{FF2B5EF4-FFF2-40B4-BE49-F238E27FC236}">
                  <a16:creationId xmlns:a16="http://schemas.microsoft.com/office/drawing/2014/main" id="{EF434BE4-33DC-4D1D-A3F7-F3693DAB1FCD}"/>
                </a:ext>
              </a:extLst>
            </p:cNvPr>
            <p:cNvGrpSpPr>
              <a:grpSpLocks noChangeAspect="1"/>
            </p:cNvGrpSpPr>
            <p:nvPr/>
          </p:nvGrpSpPr>
          <p:grpSpPr bwMode="auto">
            <a:xfrm>
              <a:off x="6752361" y="3574108"/>
              <a:ext cx="516606" cy="483118"/>
              <a:chOff x="1633" y="784"/>
              <a:chExt cx="280" cy="280"/>
            </a:xfrm>
          </p:grpSpPr>
          <p:sp>
            <p:nvSpPr>
              <p:cNvPr id="159" name="Rectangle 18">
                <a:extLst>
                  <a:ext uri="{FF2B5EF4-FFF2-40B4-BE49-F238E27FC236}">
                    <a16:creationId xmlns:a16="http://schemas.microsoft.com/office/drawing/2014/main" id="{39F5CF7F-A1FF-4B1D-8AF4-56234A32867A}"/>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19">
                <a:extLst>
                  <a:ext uri="{FF2B5EF4-FFF2-40B4-BE49-F238E27FC236}">
                    <a16:creationId xmlns:a16="http://schemas.microsoft.com/office/drawing/2014/main" id="{0B1DACF3-BAC1-4440-9D81-237E6F1BBB00}"/>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20">
                <a:extLst>
                  <a:ext uri="{FF2B5EF4-FFF2-40B4-BE49-F238E27FC236}">
                    <a16:creationId xmlns:a16="http://schemas.microsoft.com/office/drawing/2014/main" id="{46AC486F-5D76-4C33-BB68-241425D4E2D8}"/>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21">
                <a:extLst>
                  <a:ext uri="{FF2B5EF4-FFF2-40B4-BE49-F238E27FC236}">
                    <a16:creationId xmlns:a16="http://schemas.microsoft.com/office/drawing/2014/main" id="{5B152662-25AF-4D9B-B085-83F52A511EF1}"/>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3" name="Rectangle 22">
                <a:extLst>
                  <a:ext uri="{FF2B5EF4-FFF2-40B4-BE49-F238E27FC236}">
                    <a16:creationId xmlns:a16="http://schemas.microsoft.com/office/drawing/2014/main" id="{5FA998AA-3361-4DBD-98FE-748E6247D681}"/>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23">
                <a:extLst>
                  <a:ext uri="{FF2B5EF4-FFF2-40B4-BE49-F238E27FC236}">
                    <a16:creationId xmlns:a16="http://schemas.microsoft.com/office/drawing/2014/main" id="{35FFC653-CE7C-4395-B883-ABA559EDD70A}"/>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24">
                <a:extLst>
                  <a:ext uri="{FF2B5EF4-FFF2-40B4-BE49-F238E27FC236}">
                    <a16:creationId xmlns:a16="http://schemas.microsoft.com/office/drawing/2014/main" id="{4D07F4CC-4573-4103-8C2D-8359F5706617}"/>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Rectangle 25">
                <a:extLst>
                  <a:ext uri="{FF2B5EF4-FFF2-40B4-BE49-F238E27FC236}">
                    <a16:creationId xmlns:a16="http://schemas.microsoft.com/office/drawing/2014/main" id="{AA8EF394-01DD-4CBD-AC1A-B85F5853FB55}"/>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Rectangle 26">
                <a:extLst>
                  <a:ext uri="{FF2B5EF4-FFF2-40B4-BE49-F238E27FC236}">
                    <a16:creationId xmlns:a16="http://schemas.microsoft.com/office/drawing/2014/main" id="{90809533-B803-4FEB-8F2B-590599087141}"/>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Oval 27">
                <a:extLst>
                  <a:ext uri="{FF2B5EF4-FFF2-40B4-BE49-F238E27FC236}">
                    <a16:creationId xmlns:a16="http://schemas.microsoft.com/office/drawing/2014/main" id="{CD775606-8F41-4B94-B3C9-00A508E17A8D}"/>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28">
                <a:extLst>
                  <a:ext uri="{FF2B5EF4-FFF2-40B4-BE49-F238E27FC236}">
                    <a16:creationId xmlns:a16="http://schemas.microsoft.com/office/drawing/2014/main" id="{90BCB28E-BA20-41B1-9EFE-94A29EF2D5B2}"/>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29">
                <a:extLst>
                  <a:ext uri="{FF2B5EF4-FFF2-40B4-BE49-F238E27FC236}">
                    <a16:creationId xmlns:a16="http://schemas.microsoft.com/office/drawing/2014/main" id="{A31F538A-478D-4081-8295-D0C5479B13ED}"/>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Rectangle 30">
                <a:extLst>
                  <a:ext uri="{FF2B5EF4-FFF2-40B4-BE49-F238E27FC236}">
                    <a16:creationId xmlns:a16="http://schemas.microsoft.com/office/drawing/2014/main" id="{F53F973D-06BC-48C5-A371-1BCFE6B6D18D}"/>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31">
                <a:extLst>
                  <a:ext uri="{FF2B5EF4-FFF2-40B4-BE49-F238E27FC236}">
                    <a16:creationId xmlns:a16="http://schemas.microsoft.com/office/drawing/2014/main" id="{A443096F-9751-49DE-B3B6-BDF356E52DD1}"/>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Oval 32">
                <a:extLst>
                  <a:ext uri="{FF2B5EF4-FFF2-40B4-BE49-F238E27FC236}">
                    <a16:creationId xmlns:a16="http://schemas.microsoft.com/office/drawing/2014/main" id="{9A999C5E-A75E-402C-ACB3-5DD7B2ECED6B}"/>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Oval 33">
                <a:extLst>
                  <a:ext uri="{FF2B5EF4-FFF2-40B4-BE49-F238E27FC236}">
                    <a16:creationId xmlns:a16="http://schemas.microsoft.com/office/drawing/2014/main" id="{60AA72A4-34A6-443D-9B34-6936B870AF0F}"/>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Rectangle 34">
                <a:extLst>
                  <a:ext uri="{FF2B5EF4-FFF2-40B4-BE49-F238E27FC236}">
                    <a16:creationId xmlns:a16="http://schemas.microsoft.com/office/drawing/2014/main" id="{4EBBBF04-1B74-4D32-84F6-4B89E6502E37}"/>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Rectangle 35">
                <a:extLst>
                  <a:ext uri="{FF2B5EF4-FFF2-40B4-BE49-F238E27FC236}">
                    <a16:creationId xmlns:a16="http://schemas.microsoft.com/office/drawing/2014/main" id="{10ED214E-9EC6-42ED-AE2D-9A862374AB14}"/>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2" name="Rectangle 36">
                <a:extLst>
                  <a:ext uri="{FF2B5EF4-FFF2-40B4-BE49-F238E27FC236}">
                    <a16:creationId xmlns:a16="http://schemas.microsoft.com/office/drawing/2014/main" id="{8128D719-1147-4830-8675-78B8B8666C79}"/>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09" name="Group 208">
            <a:extLst>
              <a:ext uri="{FF2B5EF4-FFF2-40B4-BE49-F238E27FC236}">
                <a16:creationId xmlns:a16="http://schemas.microsoft.com/office/drawing/2014/main" id="{2DA1BFC0-D60D-4CE7-BAC6-9E2D7913E5DB}"/>
              </a:ext>
              <a:ext uri="{C183D7F6-B498-43B3-948B-1728B52AA6E4}">
                <adec:decorative xmlns:adec="http://schemas.microsoft.com/office/drawing/2017/decorative" val="1"/>
              </a:ext>
            </a:extLst>
          </p:cNvPr>
          <p:cNvGrpSpPr/>
          <p:nvPr/>
        </p:nvGrpSpPr>
        <p:grpSpPr>
          <a:xfrm>
            <a:off x="2133838" y="4167212"/>
            <a:ext cx="8002323" cy="885316"/>
            <a:chOff x="2453763" y="4248298"/>
            <a:chExt cx="8003458" cy="885441"/>
          </a:xfrm>
        </p:grpSpPr>
        <p:sp>
          <p:nvSpPr>
            <p:cNvPr id="210" name="Rectangle 209">
              <a:extLst>
                <a:ext uri="{FF2B5EF4-FFF2-40B4-BE49-F238E27FC236}">
                  <a16:creationId xmlns:a16="http://schemas.microsoft.com/office/drawing/2014/main" id="{4BF4A431-566B-433F-8974-B840E6D16606}"/>
                </a:ext>
              </a:extLst>
            </p:cNvPr>
            <p:cNvSpPr/>
            <p:nvPr/>
          </p:nvSpPr>
          <p:spPr bwMode="auto">
            <a:xfrm>
              <a:off x="2453763" y="4248298"/>
              <a:ext cx="3843848"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Technical skill building  </a:t>
              </a:r>
            </a:p>
          </p:txBody>
        </p:sp>
        <p:sp>
          <p:nvSpPr>
            <p:cNvPr id="212" name="Rectangle 211">
              <a:extLst>
                <a:ext uri="{FF2B5EF4-FFF2-40B4-BE49-F238E27FC236}">
                  <a16:creationId xmlns:a16="http://schemas.microsoft.com/office/drawing/2014/main" id="{80EFC64A-2D90-4EA9-8623-2BC0D2FA0F4B}"/>
                </a:ext>
              </a:extLst>
            </p:cNvPr>
            <p:cNvSpPr/>
            <p:nvPr/>
          </p:nvSpPr>
          <p:spPr bwMode="auto">
            <a:xfrm>
              <a:off x="6786921" y="4248298"/>
              <a:ext cx="3670300"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Expert help from specialized partners</a:t>
              </a:r>
            </a:p>
          </p:txBody>
        </p:sp>
        <p:grpSp>
          <p:nvGrpSpPr>
            <p:cNvPr id="213" name="evolve" descr="evolve">
              <a:extLst>
                <a:ext uri="{FF2B5EF4-FFF2-40B4-BE49-F238E27FC236}">
                  <a16:creationId xmlns:a16="http://schemas.microsoft.com/office/drawing/2014/main" id="{C4339322-8209-4B6C-8730-6E86404E2F9B}"/>
                </a:ext>
              </a:extLst>
            </p:cNvPr>
            <p:cNvGrpSpPr/>
            <p:nvPr/>
          </p:nvGrpSpPr>
          <p:grpSpPr>
            <a:xfrm>
              <a:off x="2487293" y="4484257"/>
              <a:ext cx="438496" cy="413522"/>
              <a:chOff x="748620" y="3040242"/>
              <a:chExt cx="415510" cy="419004"/>
            </a:xfrm>
          </p:grpSpPr>
          <p:sp>
            <p:nvSpPr>
              <p:cNvPr id="223" name="Freeform: Shape 222">
                <a:extLst>
                  <a:ext uri="{FF2B5EF4-FFF2-40B4-BE49-F238E27FC236}">
                    <a16:creationId xmlns:a16="http://schemas.microsoft.com/office/drawing/2014/main" id="{39731D87-EF8F-4D84-94D5-6D1D8F565014}"/>
                  </a:ext>
                </a:extLst>
              </p:cNvPr>
              <p:cNvSpPr/>
              <p:nvPr/>
            </p:nvSpPr>
            <p:spPr>
              <a:xfrm>
                <a:off x="748620" y="3324316"/>
                <a:ext cx="134930" cy="134930"/>
              </a:xfrm>
              <a:custGeom>
                <a:avLst/>
                <a:gdLst>
                  <a:gd name="connsiteX0" fmla="*/ 1481 w 134929"/>
                  <a:gd name="connsiteY0" fmla="*/ 133958 h 134929"/>
                  <a:gd name="connsiteX1" fmla="*/ 133959 w 134929"/>
                  <a:gd name="connsiteY1" fmla="*/ 133958 h 134929"/>
                  <a:gd name="connsiteX2" fmla="*/ 133959 w 134929"/>
                  <a:gd name="connsiteY2" fmla="*/ 1481 h 134929"/>
                  <a:gd name="connsiteX3" fmla="*/ 1481 w 134929"/>
                  <a:gd name="connsiteY3" fmla="*/ 1481 h 134929"/>
                  <a:gd name="connsiteX4" fmla="*/ 1481 w 134929"/>
                  <a:gd name="connsiteY4" fmla="*/ 133958 h 13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29" h="134929">
                    <a:moveTo>
                      <a:pt x="1481" y="133958"/>
                    </a:moveTo>
                    <a:lnTo>
                      <a:pt x="133959" y="133958"/>
                    </a:lnTo>
                    <a:lnTo>
                      <a:pt x="133959" y="1481"/>
                    </a:lnTo>
                    <a:lnTo>
                      <a:pt x="1481" y="1481"/>
                    </a:lnTo>
                    <a:lnTo>
                      <a:pt x="1481" y="133958"/>
                    </a:ln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DD17B6A8-D2A6-4C53-BF36-E4C4454CA307}"/>
                  </a:ext>
                </a:extLst>
              </p:cNvPr>
              <p:cNvSpPr/>
              <p:nvPr/>
            </p:nvSpPr>
            <p:spPr>
              <a:xfrm>
                <a:off x="899218" y="3182500"/>
                <a:ext cx="134930" cy="134930"/>
              </a:xfrm>
              <a:custGeom>
                <a:avLst/>
                <a:gdLst>
                  <a:gd name="connsiteX0" fmla="*/ 1481 w 134929"/>
                  <a:gd name="connsiteY0" fmla="*/ 32320 h 134929"/>
                  <a:gd name="connsiteX1" fmla="*/ 1481 w 134929"/>
                  <a:gd name="connsiteY1" fmla="*/ 103119 h 134929"/>
                  <a:gd name="connsiteX2" fmla="*/ 32320 w 134929"/>
                  <a:gd name="connsiteY2" fmla="*/ 133958 h 134929"/>
                  <a:gd name="connsiteX3" fmla="*/ 103119 w 134929"/>
                  <a:gd name="connsiteY3" fmla="*/ 133958 h 134929"/>
                  <a:gd name="connsiteX4" fmla="*/ 133958 w 134929"/>
                  <a:gd name="connsiteY4" fmla="*/ 103119 h 134929"/>
                  <a:gd name="connsiteX5" fmla="*/ 133958 w 134929"/>
                  <a:gd name="connsiteY5" fmla="*/ 32320 h 134929"/>
                  <a:gd name="connsiteX6" fmla="*/ 103119 w 134929"/>
                  <a:gd name="connsiteY6" fmla="*/ 1481 h 134929"/>
                  <a:gd name="connsiteX7" fmla="*/ 32754 w 134929"/>
                  <a:gd name="connsiteY7" fmla="*/ 1481 h 134929"/>
                  <a:gd name="connsiteX8" fmla="*/ 1481 w 134929"/>
                  <a:gd name="connsiteY8" fmla="*/ 32320 h 13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29" h="134929">
                    <a:moveTo>
                      <a:pt x="1481" y="32320"/>
                    </a:moveTo>
                    <a:lnTo>
                      <a:pt x="1481" y="103119"/>
                    </a:lnTo>
                    <a:cubicBezTo>
                      <a:pt x="1481" y="120059"/>
                      <a:pt x="15380" y="133958"/>
                      <a:pt x="32320" y="133958"/>
                    </a:cubicBezTo>
                    <a:lnTo>
                      <a:pt x="103119" y="133958"/>
                    </a:lnTo>
                    <a:cubicBezTo>
                      <a:pt x="120059" y="133958"/>
                      <a:pt x="133958" y="120059"/>
                      <a:pt x="133958" y="103119"/>
                    </a:cubicBezTo>
                    <a:lnTo>
                      <a:pt x="133958" y="32320"/>
                    </a:lnTo>
                    <a:cubicBezTo>
                      <a:pt x="133958" y="15380"/>
                      <a:pt x="120059" y="1481"/>
                      <a:pt x="103119" y="1481"/>
                    </a:cubicBezTo>
                    <a:lnTo>
                      <a:pt x="32754" y="1481"/>
                    </a:lnTo>
                    <a:cubicBezTo>
                      <a:pt x="15380" y="1481"/>
                      <a:pt x="1481" y="14945"/>
                      <a:pt x="1481" y="32320"/>
                    </a:cubicBez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34A1FCC6-E31D-4A13-8AD4-284CF052C863}"/>
                  </a:ext>
                </a:extLst>
              </p:cNvPr>
              <p:cNvSpPr/>
              <p:nvPr/>
            </p:nvSpPr>
            <p:spPr>
              <a:xfrm>
                <a:off x="1033553" y="3040242"/>
                <a:ext cx="130577" cy="130577"/>
              </a:xfrm>
              <a:custGeom>
                <a:avLst/>
                <a:gdLst>
                  <a:gd name="connsiteX0" fmla="*/ 1481 w 130577"/>
                  <a:gd name="connsiteY0" fmla="*/ 66634 h 130577"/>
                  <a:gd name="connsiteX1" fmla="*/ 66634 w 130577"/>
                  <a:gd name="connsiteY1" fmla="*/ 131787 h 130577"/>
                  <a:gd name="connsiteX2" fmla="*/ 67502 w 130577"/>
                  <a:gd name="connsiteY2" fmla="*/ 131787 h 130577"/>
                  <a:gd name="connsiteX3" fmla="*/ 132655 w 130577"/>
                  <a:gd name="connsiteY3" fmla="*/ 66634 h 130577"/>
                  <a:gd name="connsiteX4" fmla="*/ 67502 w 130577"/>
                  <a:gd name="connsiteY4" fmla="*/ 1481 h 130577"/>
                  <a:gd name="connsiteX5" fmla="*/ 66634 w 130577"/>
                  <a:gd name="connsiteY5" fmla="*/ 1481 h 130577"/>
                  <a:gd name="connsiteX6" fmla="*/ 1481 w 130577"/>
                  <a:gd name="connsiteY6" fmla="*/ 66634 h 1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7" h="130577">
                    <a:moveTo>
                      <a:pt x="1481" y="66634"/>
                    </a:moveTo>
                    <a:cubicBezTo>
                      <a:pt x="1481" y="102685"/>
                      <a:pt x="30582" y="131787"/>
                      <a:pt x="66634" y="131787"/>
                    </a:cubicBezTo>
                    <a:lnTo>
                      <a:pt x="67502" y="131787"/>
                    </a:lnTo>
                    <a:cubicBezTo>
                      <a:pt x="103553" y="131787"/>
                      <a:pt x="132655" y="102685"/>
                      <a:pt x="132655" y="66634"/>
                    </a:cubicBezTo>
                    <a:cubicBezTo>
                      <a:pt x="132655" y="30582"/>
                      <a:pt x="103553" y="1481"/>
                      <a:pt x="67502" y="1481"/>
                    </a:cubicBezTo>
                    <a:lnTo>
                      <a:pt x="66634" y="1481"/>
                    </a:lnTo>
                    <a:cubicBezTo>
                      <a:pt x="30582" y="1481"/>
                      <a:pt x="1481" y="30582"/>
                      <a:pt x="1481" y="66634"/>
                    </a:cubicBezTo>
                    <a:close/>
                  </a:path>
                </a:pathLst>
              </a:custGeom>
              <a:solidFill>
                <a:srgbClr val="50E6FF"/>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4" name="Group 213">
              <a:extLst>
                <a:ext uri="{FF2B5EF4-FFF2-40B4-BE49-F238E27FC236}">
                  <a16:creationId xmlns:a16="http://schemas.microsoft.com/office/drawing/2014/main" id="{52DDA35E-9E25-4542-8F63-B1F4DBDC3D08}"/>
                </a:ext>
              </a:extLst>
            </p:cNvPr>
            <p:cNvGrpSpPr/>
            <p:nvPr/>
          </p:nvGrpSpPr>
          <p:grpSpPr>
            <a:xfrm>
              <a:off x="6767963" y="4504105"/>
              <a:ext cx="485402" cy="373826"/>
              <a:chOff x="9129142" y="4231699"/>
              <a:chExt cx="524769" cy="450130"/>
            </a:xfrm>
          </p:grpSpPr>
          <p:grpSp>
            <p:nvGrpSpPr>
              <p:cNvPr id="215" name="management at scale" descr="management at scale">
                <a:extLst>
                  <a:ext uri="{FF2B5EF4-FFF2-40B4-BE49-F238E27FC236}">
                    <a16:creationId xmlns:a16="http://schemas.microsoft.com/office/drawing/2014/main" id="{E5269333-9614-4359-9270-92CCED52E5ED}"/>
                  </a:ext>
                </a:extLst>
              </p:cNvPr>
              <p:cNvGrpSpPr>
                <a:grpSpLocks noChangeAspect="1"/>
              </p:cNvGrpSpPr>
              <p:nvPr/>
            </p:nvGrpSpPr>
            <p:grpSpPr bwMode="auto">
              <a:xfrm flipH="1" flipV="1">
                <a:off x="9257032" y="4231699"/>
                <a:ext cx="396879" cy="401633"/>
                <a:chOff x="2844" y="774"/>
                <a:chExt cx="250" cy="253"/>
              </a:xfrm>
            </p:grpSpPr>
            <p:sp>
              <p:nvSpPr>
                <p:cNvPr id="219" name="AutoShape 27">
                  <a:extLst>
                    <a:ext uri="{FF2B5EF4-FFF2-40B4-BE49-F238E27FC236}">
                      <a16:creationId xmlns:a16="http://schemas.microsoft.com/office/drawing/2014/main" id="{C9943D24-9089-4928-A682-BA965338378F}"/>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0" name="Freeform 29">
                  <a:extLst>
                    <a:ext uri="{FF2B5EF4-FFF2-40B4-BE49-F238E27FC236}">
                      <a16:creationId xmlns:a16="http://schemas.microsoft.com/office/drawing/2014/main" id="{1E350BA4-CA20-4EB8-81C1-D538CB058729}"/>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1" name="Freeform 30">
                  <a:extLst>
                    <a:ext uri="{FF2B5EF4-FFF2-40B4-BE49-F238E27FC236}">
                      <a16:creationId xmlns:a16="http://schemas.microsoft.com/office/drawing/2014/main" id="{58A1322D-AB9A-419F-BCA4-6A2C1455B82E}"/>
                    </a:ext>
                  </a:extLst>
                </p:cNvPr>
                <p:cNvSpPr>
                  <a:spLocks/>
                </p:cNvSpPr>
                <p:nvPr/>
              </p:nvSpPr>
              <p:spPr bwMode="auto">
                <a:xfrm>
                  <a:off x="2946" y="970"/>
                  <a:ext cx="50"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Freeform 31">
                  <a:extLst>
                    <a:ext uri="{FF2B5EF4-FFF2-40B4-BE49-F238E27FC236}">
                      <a16:creationId xmlns:a16="http://schemas.microsoft.com/office/drawing/2014/main" id="{83DC83D5-024E-40D2-9EE0-8D5530E55DA6}"/>
                    </a:ext>
                  </a:extLst>
                </p:cNvPr>
                <p:cNvSpPr>
                  <a:spLocks/>
                </p:cNvSpPr>
                <p:nvPr/>
              </p:nvSpPr>
              <p:spPr bwMode="auto">
                <a:xfrm>
                  <a:off x="2849" y="872"/>
                  <a:ext cx="50"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6" name="person" descr="person">
                <a:extLst>
                  <a:ext uri="{FF2B5EF4-FFF2-40B4-BE49-F238E27FC236}">
                    <a16:creationId xmlns:a16="http://schemas.microsoft.com/office/drawing/2014/main" id="{348196ED-D057-489D-893D-CA05D795F90D}"/>
                  </a:ext>
                </a:extLst>
              </p:cNvPr>
              <p:cNvGrpSpPr/>
              <p:nvPr/>
            </p:nvGrpSpPr>
            <p:grpSpPr>
              <a:xfrm>
                <a:off x="9129142" y="4339601"/>
                <a:ext cx="271706" cy="342228"/>
                <a:chOff x="5522452" y="3368919"/>
                <a:chExt cx="224223" cy="282423"/>
              </a:xfrm>
            </p:grpSpPr>
            <p:sp>
              <p:nvSpPr>
                <p:cNvPr id="217" name="Freeform: Shape 216">
                  <a:extLst>
                    <a:ext uri="{FF2B5EF4-FFF2-40B4-BE49-F238E27FC236}">
                      <a16:creationId xmlns:a16="http://schemas.microsoft.com/office/drawing/2014/main" id="{256F4B7B-953E-4F12-BE78-4E1BB8E8F558}"/>
                    </a:ext>
                  </a:extLst>
                </p:cNvPr>
                <p:cNvSpPr/>
                <p:nvPr/>
              </p:nvSpPr>
              <p:spPr>
                <a:xfrm>
                  <a:off x="5573067" y="3368919"/>
                  <a:ext cx="121859"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5AF9C0BD-1134-4D3B-8F7C-6768E9BE999D}"/>
                    </a:ext>
                  </a:extLst>
                </p:cNvPr>
                <p:cNvSpPr/>
                <p:nvPr/>
              </p:nvSpPr>
              <p:spPr>
                <a:xfrm>
                  <a:off x="5522452" y="3519435"/>
                  <a:ext cx="224223"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226" name="Rectangle 225">
            <a:extLst>
              <a:ext uri="{FF2B5EF4-FFF2-40B4-BE49-F238E27FC236}">
                <a16:creationId xmlns:a16="http://schemas.microsoft.com/office/drawing/2014/main" id="{A2431A30-A58B-46CF-BA97-D87A18F57645}"/>
              </a:ext>
              <a:ext uri="{C183D7F6-B498-43B3-948B-1728B52AA6E4}">
                <adec:decorative xmlns:adec="http://schemas.microsoft.com/office/drawing/2017/decorative" val="1"/>
              </a:ext>
            </a:extLst>
          </p:cNvPr>
          <p:cNvSpPr/>
          <p:nvPr/>
        </p:nvSpPr>
        <p:spPr bwMode="auto">
          <a:xfrm>
            <a:off x="1535199" y="2306773"/>
            <a:ext cx="9318742" cy="2907493"/>
          </a:xfrm>
          <a:prstGeom prst="rect">
            <a:avLst/>
          </a:prstGeom>
          <a:noFill/>
          <a:ln>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02870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grpId="1" nodeType="withEffect">
                                  <p:stCondLst>
                                    <p:cond delay="0"/>
                                  </p:stCondLst>
                                  <p:childTnLst>
                                    <p:animMotion origin="layout" path="M 1.45833E-6 -4.07407E-6 L 1.45833E-6 0.01899 " pathEditMode="relative" rAng="0" ptsTypes="AA">
                                      <p:cBhvr>
                                        <p:cTn id="9" dur="700" spd="-100000" fill="hold"/>
                                        <p:tgtEl>
                                          <p:spTgt spid="109"/>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42" presetClass="path" presetSubtype="0" decel="100000" fill="hold" grpId="1" nodeType="withEffect">
                                  <p:stCondLst>
                                    <p:cond delay="100"/>
                                  </p:stCondLst>
                                  <p:childTnLst>
                                    <p:animMotion origin="layout" path="M 4.375E-6 -4.44444E-6 L 4.375E-6 0.01899 " pathEditMode="relative" rAng="0" ptsTypes="AA">
                                      <p:cBhvr>
                                        <p:cTn id="14" dur="700" spd="-100000" fill="hold"/>
                                        <p:tgtEl>
                                          <p:spTgt spid="111"/>
                                        </p:tgtEl>
                                        <p:attrNameLst>
                                          <p:attrName>ppt_x</p:attrName>
                                          <p:attrName>ppt_y</p:attrName>
                                        </p:attrNameLst>
                                      </p:cBhvr>
                                      <p:rCtr x="0" y="949"/>
                                    </p:animMotion>
                                  </p:childTnLst>
                                </p:cTn>
                              </p:par>
                              <p:par>
                                <p:cTn id="15" presetID="10" presetClass="entr" presetSubtype="0" fill="hold" nodeType="withEffect">
                                  <p:stCondLst>
                                    <p:cond delay="100"/>
                                  </p:stCondLst>
                                  <p:childTnLst>
                                    <p:set>
                                      <p:cBhvr>
                                        <p:cTn id="16" dur="1" fill="hold">
                                          <p:stCondLst>
                                            <p:cond delay="0"/>
                                          </p:stCondLst>
                                        </p:cTn>
                                        <p:tgtEl>
                                          <p:spTgt spid="126"/>
                                        </p:tgtEl>
                                        <p:attrNameLst>
                                          <p:attrName>style.visibility</p:attrName>
                                        </p:attrNameLst>
                                      </p:cBhvr>
                                      <p:to>
                                        <p:strVal val="visible"/>
                                      </p:to>
                                    </p:set>
                                    <p:animEffect transition="in" filter="fade">
                                      <p:cBhvr>
                                        <p:cTn id="17" dur="500"/>
                                        <p:tgtEl>
                                          <p:spTgt spid="126"/>
                                        </p:tgtEl>
                                      </p:cBhvr>
                                    </p:animEffect>
                                  </p:childTnLst>
                                </p:cTn>
                              </p:par>
                              <p:par>
                                <p:cTn id="18" presetID="42" presetClass="path" presetSubtype="0" decel="100000" fill="hold" nodeType="withEffect">
                                  <p:stCondLst>
                                    <p:cond delay="100"/>
                                  </p:stCondLst>
                                  <p:childTnLst>
                                    <p:animMotion origin="layout" path="M -3.33333E-6 -4.44444E-6 L -3.33333E-6 0.03542 " pathEditMode="relative" rAng="0" ptsTypes="AA">
                                      <p:cBhvr>
                                        <p:cTn id="19" dur="500" spd="-100000" fill="hold"/>
                                        <p:tgtEl>
                                          <p:spTgt spid="126"/>
                                        </p:tgtEl>
                                        <p:attrNameLst>
                                          <p:attrName>ppt_x</p:attrName>
                                          <p:attrName>ppt_y</p:attrName>
                                        </p:attrNameLst>
                                      </p:cBhvr>
                                      <p:rCtr x="0" y="1759"/>
                                    </p:animMotion>
                                  </p:childTnLst>
                                </p:cTn>
                              </p:par>
                              <p:par>
                                <p:cTn id="20" presetID="10" presetClass="entr" presetSubtype="0" fill="hold" nodeType="withEffect">
                                  <p:stCondLst>
                                    <p:cond delay="200"/>
                                  </p:stCondLst>
                                  <p:childTnLst>
                                    <p:set>
                                      <p:cBhvr>
                                        <p:cTn id="21" dur="1" fill="hold">
                                          <p:stCondLst>
                                            <p:cond delay="0"/>
                                          </p:stCondLst>
                                        </p:cTn>
                                        <p:tgtEl>
                                          <p:spTgt spid="154"/>
                                        </p:tgtEl>
                                        <p:attrNameLst>
                                          <p:attrName>style.visibility</p:attrName>
                                        </p:attrNameLst>
                                      </p:cBhvr>
                                      <p:to>
                                        <p:strVal val="visible"/>
                                      </p:to>
                                    </p:set>
                                    <p:animEffect transition="in" filter="fade">
                                      <p:cBhvr>
                                        <p:cTn id="22" dur="500"/>
                                        <p:tgtEl>
                                          <p:spTgt spid="154"/>
                                        </p:tgtEl>
                                      </p:cBhvr>
                                    </p:animEffect>
                                  </p:childTnLst>
                                </p:cTn>
                              </p:par>
                              <p:par>
                                <p:cTn id="23" presetID="42" presetClass="path" presetSubtype="0" decel="100000" fill="hold" nodeType="withEffect">
                                  <p:stCondLst>
                                    <p:cond delay="200"/>
                                  </p:stCondLst>
                                  <p:childTnLst>
                                    <p:animMotion origin="layout" path="M -1.25E-6 -2.22222E-6 L -1.25E-6 0.03542 " pathEditMode="relative" rAng="0" ptsTypes="AA">
                                      <p:cBhvr>
                                        <p:cTn id="24" dur="500" spd="-100000" fill="hold"/>
                                        <p:tgtEl>
                                          <p:spTgt spid="154"/>
                                        </p:tgtEl>
                                        <p:attrNameLst>
                                          <p:attrName>ppt_x</p:attrName>
                                          <p:attrName>ppt_y</p:attrName>
                                        </p:attrNameLst>
                                      </p:cBhvr>
                                      <p:rCtr x="0" y="1759"/>
                                    </p:animMotion>
                                  </p:childTnLst>
                                </p:cTn>
                              </p:par>
                              <p:par>
                                <p:cTn id="25" presetID="10" presetClass="entr" presetSubtype="0" fill="hold" nodeType="withEffect">
                                  <p:stCondLst>
                                    <p:cond delay="300"/>
                                  </p:stCondLst>
                                  <p:childTnLst>
                                    <p:set>
                                      <p:cBhvr>
                                        <p:cTn id="26" dur="1" fill="hold">
                                          <p:stCondLst>
                                            <p:cond delay="0"/>
                                          </p:stCondLst>
                                        </p:cTn>
                                        <p:tgtEl>
                                          <p:spTgt spid="209"/>
                                        </p:tgtEl>
                                        <p:attrNameLst>
                                          <p:attrName>style.visibility</p:attrName>
                                        </p:attrNameLst>
                                      </p:cBhvr>
                                      <p:to>
                                        <p:strVal val="visible"/>
                                      </p:to>
                                    </p:set>
                                    <p:animEffect transition="in" filter="fade">
                                      <p:cBhvr>
                                        <p:cTn id="27" dur="500"/>
                                        <p:tgtEl>
                                          <p:spTgt spid="209"/>
                                        </p:tgtEl>
                                      </p:cBhvr>
                                    </p:animEffect>
                                  </p:childTnLst>
                                </p:cTn>
                              </p:par>
                              <p:par>
                                <p:cTn id="28" presetID="42" presetClass="path" presetSubtype="0" decel="100000" fill="hold" nodeType="withEffect">
                                  <p:stCondLst>
                                    <p:cond delay="300"/>
                                  </p:stCondLst>
                                  <p:childTnLst>
                                    <p:animMotion origin="layout" path="M 3.75E-6 1.48148E-6 L 3.75E-6 0.03542 " pathEditMode="relative" rAng="0" ptsTypes="AA">
                                      <p:cBhvr>
                                        <p:cTn id="29" dur="500" spd="-100000" fill="hold"/>
                                        <p:tgtEl>
                                          <p:spTgt spid="20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111" grpId="0"/>
      <p:bldP spid="111" grpId="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5C13DE-1452-4D92-B4C9-A8FC3E924F5C}"/>
              </a:ext>
            </a:extLst>
          </p:cNvPr>
          <p:cNvSpPr>
            <a:spLocks noGrp="1"/>
          </p:cNvSpPr>
          <p:nvPr>
            <p:ph type="title"/>
          </p:nvPr>
        </p:nvSpPr>
        <p:spPr/>
        <p:txBody>
          <a:bodyPr/>
          <a:lstStyle/>
          <a:p>
            <a:r>
              <a:rPr lang="en-IN">
                <a:solidFill>
                  <a:schemeClr val="accent3"/>
                </a:solidFill>
                <a:cs typeface="Segoe UI Semibold"/>
              </a:rPr>
              <a:t>Start with a Solution Assessment…</a:t>
            </a:r>
            <a:endParaRPr lang="en-IN">
              <a:solidFill>
                <a:schemeClr val="accent3"/>
              </a:solidFill>
            </a:endParaRPr>
          </a:p>
        </p:txBody>
      </p:sp>
      <p:sp>
        <p:nvSpPr>
          <p:cNvPr id="9" name="Rectangle 8">
            <a:extLst>
              <a:ext uri="{FF2B5EF4-FFF2-40B4-BE49-F238E27FC236}">
                <a16:creationId xmlns:a16="http://schemas.microsoft.com/office/drawing/2014/main" id="{BCA48C13-E42B-46FB-85EF-ABA14270B9E8}"/>
              </a:ext>
            </a:extLst>
          </p:cNvPr>
          <p:cNvSpPr/>
          <p:nvPr/>
        </p:nvSpPr>
        <p:spPr>
          <a:xfrm>
            <a:off x="57405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Learn more and find re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zure.com/migration</a:t>
            </a:r>
          </a:p>
        </p:txBody>
      </p:sp>
      <p:sp>
        <p:nvSpPr>
          <p:cNvPr id="10" name="Rectangle 9">
            <a:extLst>
              <a:ext uri="{FF2B5EF4-FFF2-40B4-BE49-F238E27FC236}">
                <a16:creationId xmlns:a16="http://schemas.microsoft.com/office/drawing/2014/main" id="{07A2ED04-1BE2-4D56-BBDD-4C9C7CB3ACE2}"/>
              </a:ext>
            </a:extLst>
          </p:cNvPr>
          <p:cNvSpPr/>
          <p:nvPr/>
        </p:nvSpPr>
        <p:spPr>
          <a:xfrm>
            <a:off x="337143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Sign up for assist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 Azure.com/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zure.com/</a:t>
            </a:r>
            <a:r>
              <a:rPr kumimoji="0" lang="en-US" sz="1800" b="1" i="0" u="none" strike="noStrike" kern="1200" cap="none" spc="0" normalizeH="0" baseline="0" noProof="0" err="1">
                <a:ln>
                  <a:noFill/>
                </a:ln>
                <a:solidFill>
                  <a:srgbClr val="50E6FF"/>
                </a:solidFill>
                <a:effectLst/>
                <a:uLnTx/>
                <a:uFillTx/>
                <a:latin typeface="Segoe UI"/>
                <a:ea typeface="+mn-ea"/>
                <a:cs typeface="+mn-cs"/>
              </a:rPr>
              <a:t>fasttrack</a:t>
            </a:r>
            <a:endParaRPr kumimoji="0" lang="en-US" sz="1800" b="1" i="0" u="none" strike="noStrike" kern="1200" cap="none" spc="0" normalizeH="0" baseline="0" noProof="0">
              <a:ln>
                <a:noFill/>
              </a:ln>
              <a:solidFill>
                <a:srgbClr val="50E6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8B62B40E-BBA3-47B7-AEAD-2E6FEB39712A}"/>
              </a:ext>
            </a:extLst>
          </p:cNvPr>
          <p:cNvSpPr/>
          <p:nvPr/>
        </p:nvSpPr>
        <p:spPr>
          <a:xfrm>
            <a:off x="616881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Understand Azure migration read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ka.ms/</a:t>
            </a:r>
            <a:r>
              <a:rPr kumimoji="0" lang="en-US" sz="1800" b="1" i="0" u="none" strike="noStrike" kern="1200" cap="none" spc="0" normalizeH="0" baseline="0" noProof="0" err="1">
                <a:ln>
                  <a:noFill/>
                </a:ln>
                <a:solidFill>
                  <a:srgbClr val="50E6FF"/>
                </a:solidFill>
                <a:effectLst/>
                <a:uLnTx/>
                <a:uFillTx/>
                <a:latin typeface="Segoe UI"/>
                <a:ea typeface="+mn-ea"/>
                <a:cs typeface="+mn-cs"/>
              </a:rPr>
              <a:t>smarttool</a:t>
            </a:r>
            <a:endParaRPr kumimoji="0" lang="en-US" sz="1800" b="1" i="0" u="none" strike="noStrike" kern="1200" cap="none" spc="0" normalizeH="0" baseline="0" noProof="0">
              <a:ln>
                <a:noFill/>
              </a:ln>
              <a:solidFill>
                <a:srgbClr val="50E6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AA4DD791-8F27-4BE2-80FF-08B279687F30}"/>
              </a:ext>
            </a:extLst>
          </p:cNvPr>
          <p:cNvSpPr/>
          <p:nvPr/>
        </p:nvSpPr>
        <p:spPr>
          <a:xfrm>
            <a:off x="896619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Assess and move your workloa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ka.ms/</a:t>
            </a:r>
            <a:r>
              <a:rPr kumimoji="0" lang="en-US" sz="1800" b="1" i="0" u="none" strike="noStrike" kern="1200" cap="none" spc="0" normalizeH="0" baseline="0" noProof="0" err="1">
                <a:ln>
                  <a:noFill/>
                </a:ln>
                <a:solidFill>
                  <a:srgbClr val="50E6FF"/>
                </a:solidFill>
                <a:effectLst/>
                <a:uLnTx/>
                <a:uFillTx/>
                <a:latin typeface="Segoe UI"/>
                <a:ea typeface="+mn-ea"/>
                <a:cs typeface="+mn-cs"/>
              </a:rPr>
              <a:t>azuremigrate</a:t>
            </a:r>
            <a:endParaRPr kumimoji="0" lang="en-US" sz="1800" b="1" i="0" u="none" strike="noStrike" kern="1200" cap="none" spc="0" normalizeH="0" baseline="0" noProof="0">
              <a:ln>
                <a:noFill/>
              </a:ln>
              <a:solidFill>
                <a:srgbClr val="50E6FF"/>
              </a:solidFill>
              <a:effectLst/>
              <a:uLnTx/>
              <a:uFillTx/>
              <a:latin typeface="Segoe UI"/>
              <a:ea typeface="+mn-ea"/>
              <a:cs typeface="+mn-cs"/>
            </a:endParaRPr>
          </a:p>
        </p:txBody>
      </p:sp>
      <p:cxnSp>
        <p:nvCxnSpPr>
          <p:cNvPr id="11" name="Straight Connector 10">
            <a:extLst>
              <a:ext uri="{FF2B5EF4-FFF2-40B4-BE49-F238E27FC236}">
                <a16:creationId xmlns:a16="http://schemas.microsoft.com/office/drawing/2014/main" id="{C2170FA0-1D53-44C5-8701-104EFDD52A06}"/>
              </a:ext>
              <a:ext uri="{C183D7F6-B498-43B3-948B-1728B52AA6E4}">
                <adec:decorative xmlns:adec="http://schemas.microsoft.com/office/drawing/2017/decorative" val="1"/>
              </a:ext>
            </a:extLst>
          </p:cNvPr>
          <p:cNvCxnSpPr>
            <a:cxnSpLocks/>
          </p:cNvCxnSpPr>
          <p:nvPr/>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Freeform: Shape 11">
            <a:extLst>
              <a:ext uri="{FF2B5EF4-FFF2-40B4-BE49-F238E27FC236}">
                <a16:creationId xmlns:a16="http://schemas.microsoft.com/office/drawing/2014/main" id="{2E6338B9-F8DA-47F1-B2DB-EF701F750D26}"/>
              </a:ext>
              <a:ext uri="{C183D7F6-B498-43B3-948B-1728B52AA6E4}">
                <adec:decorative xmlns:adec="http://schemas.microsoft.com/office/drawing/2017/decorative" val="1"/>
              </a:ext>
            </a:extLst>
          </p:cNvPr>
          <p:cNvSpPr/>
          <p:nvPr/>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7EBB6EB1-5DF1-4343-8C38-64E0D4900E3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478507" y="2879835"/>
            <a:ext cx="845820" cy="373380"/>
          </a:xfrm>
          <a:prstGeom prst="rect">
            <a:avLst/>
          </a:prstGeom>
        </p:spPr>
      </p:pic>
      <p:sp>
        <p:nvSpPr>
          <p:cNvPr id="14" name="Freeform: Shape 13">
            <a:extLst>
              <a:ext uri="{FF2B5EF4-FFF2-40B4-BE49-F238E27FC236}">
                <a16:creationId xmlns:a16="http://schemas.microsoft.com/office/drawing/2014/main" id="{835D17FE-DF26-4E00-8711-D798B9924E6F}"/>
              </a:ext>
              <a:ext uri="{C183D7F6-B498-43B3-948B-1728B52AA6E4}">
                <adec:decorative xmlns:adec="http://schemas.microsoft.com/office/drawing/2017/decorative" val="1"/>
              </a:ext>
            </a:extLst>
          </p:cNvPr>
          <p:cNvSpPr/>
          <p:nvPr/>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B0257284-E45F-4179-9F64-D473F766DD03}"/>
              </a:ext>
              <a:ext uri="{C183D7F6-B498-43B3-948B-1728B52AA6E4}">
                <adec:decorative xmlns:adec="http://schemas.microsoft.com/office/drawing/2017/decorative" val="1"/>
              </a:ext>
            </a:extLst>
          </p:cNvPr>
          <p:cNvSpPr/>
          <p:nvPr/>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16" name="Picture 15">
            <a:extLst>
              <a:ext uri="{FF2B5EF4-FFF2-40B4-BE49-F238E27FC236}">
                <a16:creationId xmlns:a16="http://schemas.microsoft.com/office/drawing/2014/main" id="{9167FD4C-35EB-43A2-A7B8-C8B37D50E0E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358220" y="2727235"/>
            <a:ext cx="678180" cy="678180"/>
          </a:xfrm>
          <a:prstGeom prst="rect">
            <a:avLst/>
          </a:prstGeom>
        </p:spPr>
      </p:pic>
      <p:sp>
        <p:nvSpPr>
          <p:cNvPr id="18" name="Freeform: Shape 17">
            <a:extLst>
              <a:ext uri="{FF2B5EF4-FFF2-40B4-BE49-F238E27FC236}">
                <a16:creationId xmlns:a16="http://schemas.microsoft.com/office/drawing/2014/main" id="{5A651C2A-0610-4F9B-8546-0B2A0D6319E8}"/>
              </a:ext>
              <a:ext uri="{C183D7F6-B498-43B3-948B-1728B52AA6E4}">
                <adec:decorative xmlns:adec="http://schemas.microsoft.com/office/drawing/2017/decorative" val="1"/>
              </a:ext>
            </a:extLst>
          </p:cNvPr>
          <p:cNvSpPr/>
          <p:nvPr/>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1568FA09-8792-44A4-ACED-E134A19CC8B5}"/>
              </a:ext>
              <a:ext uri="{C183D7F6-B498-43B3-948B-1728B52AA6E4}">
                <adec:decorative xmlns:adec="http://schemas.microsoft.com/office/drawing/2017/decorative" val="1"/>
              </a:ext>
            </a:extLst>
          </p:cNvPr>
          <p:cNvSpPr/>
          <p:nvPr/>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20" name="Picture 19">
            <a:extLst>
              <a:ext uri="{FF2B5EF4-FFF2-40B4-BE49-F238E27FC236}">
                <a16:creationId xmlns:a16="http://schemas.microsoft.com/office/drawing/2014/main" id="{B78B23AB-A811-4A0E-B103-C0524646DCD8}"/>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243230" y="2757715"/>
            <a:ext cx="502920" cy="617220"/>
          </a:xfrm>
          <a:prstGeom prst="rect">
            <a:avLst/>
          </a:prstGeom>
        </p:spPr>
      </p:pic>
      <p:sp>
        <p:nvSpPr>
          <p:cNvPr id="21" name="Freeform: Shape 20">
            <a:extLst>
              <a:ext uri="{FF2B5EF4-FFF2-40B4-BE49-F238E27FC236}">
                <a16:creationId xmlns:a16="http://schemas.microsoft.com/office/drawing/2014/main" id="{61F4F7BC-A25E-4DC8-8D36-BE3C5826418D}"/>
              </a:ext>
              <a:ext uri="{C183D7F6-B498-43B3-948B-1728B52AA6E4}">
                <adec:decorative xmlns:adec="http://schemas.microsoft.com/office/drawing/2017/decorative" val="1"/>
              </a:ext>
            </a:extLst>
          </p:cNvPr>
          <p:cNvSpPr/>
          <p:nvPr/>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6F05BF67-5738-424D-A8F5-4CB1A46A2684}"/>
              </a:ext>
              <a:ext uri="{C183D7F6-B498-43B3-948B-1728B52AA6E4}">
                <adec:decorative xmlns:adec="http://schemas.microsoft.com/office/drawing/2017/decorative" val="1"/>
              </a:ext>
            </a:extLst>
          </p:cNvPr>
          <p:cNvSpPr/>
          <p:nvPr/>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BEA25494-9BC7-4BE2-919F-67C44B86386A}"/>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9937740" y="2711995"/>
            <a:ext cx="708660" cy="708660"/>
          </a:xfrm>
          <a:prstGeom prst="rect">
            <a:avLst/>
          </a:prstGeom>
        </p:spPr>
      </p:pic>
    </p:spTree>
    <p:extLst>
      <p:ext uri="{BB962C8B-B14F-4D97-AF65-F5344CB8AC3E}">
        <p14:creationId xmlns:p14="http://schemas.microsoft.com/office/powerpoint/2010/main" val="235804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0029" y="5959001"/>
            <a:ext cx="10754328" cy="612576"/>
          </a:xfrm>
          <a:prstGeom prst="rect">
            <a:avLst/>
          </a:prstGeom>
          <a:noFill/>
          <a:ln w="12700">
            <a:noFill/>
            <a:miter lim="800000"/>
            <a:headEnd type="none" w="sm" len="sm"/>
            <a:tailEnd type="none" w="sm" len="sm"/>
          </a:ln>
          <a:effectLst/>
        </p:spPr>
        <p:txBody>
          <a:bodyPr lIns="179212" tIns="143370" rIns="179212" bIns="143370">
            <a:spAutoFit/>
          </a:bodyPr>
          <a:lstStyle/>
          <a:p>
            <a:pPr defTabSz="913474" eaLnBrk="0" fontAlgn="base" hangingPunct="0">
              <a:spcBef>
                <a:spcPct val="0"/>
              </a:spcBef>
              <a:spcAft>
                <a:spcPct val="0"/>
              </a:spcAft>
              <a:defRPr/>
            </a:pPr>
            <a:r>
              <a:rPr lang="en-US" sz="700" kern="0">
                <a:gradFill>
                  <a:gsLst>
                    <a:gs pos="0">
                      <a:srgbClr val="FFFFFF"/>
                    </a:gs>
                    <a:gs pos="100000">
                      <a:srgbClr val="FFFFFF"/>
                    </a:gs>
                  </a:gsLst>
                  <a:lin ang="5400000" scaled="0"/>
                </a:gradFill>
                <a:latin typeface="Segoe UI" charset="0"/>
                <a:ea typeface="Segoe UI" charset="0"/>
                <a:cs typeface="Segoe UI" charset="0"/>
              </a:rPr>
              <a:t>© 2018 Microsoft Corporation. All rights reserved. Microsoft, Windows, Windows Vista and other product names are or may be registered trademarks and/or trademarks in the U.S. and/or other countries.</a:t>
            </a:r>
          </a:p>
          <a:p>
            <a:pPr defTabSz="913474" eaLnBrk="0" fontAlgn="base" hangingPunct="0">
              <a:spcBef>
                <a:spcPct val="0"/>
              </a:spcBef>
              <a:spcAft>
                <a:spcPct val="0"/>
              </a:spcAft>
              <a:defRPr/>
            </a:pPr>
            <a:r>
              <a:rPr lang="en-US" sz="700" kern="0">
                <a:gradFill>
                  <a:gsLst>
                    <a:gs pos="0">
                      <a:srgbClr val="FFFFFF"/>
                    </a:gs>
                    <a:gs pos="100000">
                      <a:srgbClr val="FFFFFF"/>
                    </a:gs>
                  </a:gsLst>
                  <a:lin ang="5400000" scaled="0"/>
                </a:gradFill>
                <a:latin typeface="Segoe UI" charset="0"/>
                <a:ea typeface="Segoe UI" charset="0"/>
                <a:cs typeface="Segoe UI"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 name="Title 2"/>
          <p:cNvSpPr txBox="1">
            <a:spLocks noGrp="1"/>
          </p:cNvSpPr>
          <p:nvPr>
            <p:ph type="title" idx="4294967295"/>
          </p:nvPr>
        </p:nvSpPr>
        <p:spPr>
          <a:xfrm>
            <a:off x="298386" y="3578367"/>
            <a:ext cx="7630547" cy="623823"/>
          </a:xfrm>
          <a:prstGeom prst="rect">
            <a:avLst/>
          </a:prstGeom>
          <a:noFill/>
          <a:ln>
            <a:noFill/>
            <a:prstDash/>
          </a:ln>
          <a:effectLst/>
        </p:spPr>
        <p:txBody>
          <a:bodyPr rot="0" spcFirstLastPara="0" vertOverflow="overflow" horzOverflow="overflow" vert="horz" wrap="square" lIns="143370" tIns="89607" rIns="143370" bIns="89607" numCol="1" spcCol="0" rtlCol="0" fromWordArt="0" anchor="t" anchorCtr="0" forceAA="0" compatLnSpc="1">
            <a:prstTxWarp prst="textNoShape">
              <a:avLst/>
            </a:prstTxWarp>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4"/>
                    </a:gs>
                    <a:gs pos="100000">
                      <a:schemeClr val="accent4"/>
                    </a:gs>
                  </a:gsLst>
                  <a:lin ang="5400000" scaled="0"/>
                </a:gradFill>
                <a:effectLst/>
                <a:latin typeface="+mj-lt"/>
                <a:ea typeface="+mn-ea"/>
                <a:cs typeface="Arial" charset="0"/>
              </a:defRPr>
            </a:lvl1pPr>
          </a:lstStyle>
          <a:p>
            <a:pPr marL="0" marR="0" lvl="0" indent="0" algn="l" defTabSz="93246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2" normalizeH="0" baseline="0" noProof="0" dirty="0">
                <a:ln w="3175">
                  <a:noFill/>
                </a:ln>
                <a:solidFill>
                  <a:srgbClr val="FFFFFF"/>
                </a:solidFill>
                <a:effectLst/>
                <a:uLnTx/>
                <a:uFillTx/>
                <a:latin typeface="Segoe UI Light" charset="0"/>
                <a:ea typeface="Segoe UI Light" charset="0"/>
                <a:cs typeface="Segoe UI Light" charset="0"/>
              </a:rPr>
              <a:t>Thank you for joining us.</a:t>
            </a:r>
          </a:p>
        </p:txBody>
      </p:sp>
      <p:pic>
        <p:nvPicPr>
          <p:cNvPr id="5" name="Picture 4" descr="Microsoft Azure">
            <a:extLst>
              <a:ext uri="{FF2B5EF4-FFF2-40B4-BE49-F238E27FC236}">
                <a16:creationId xmlns:a16="http://schemas.microsoft.com/office/drawing/2014/main" id="{EAFE9B13-2F61-F948-8077-731294A55163}"/>
              </a:ext>
            </a:extLst>
          </p:cNvPr>
          <p:cNvPicPr>
            <a:picLocks noChangeAspect="1"/>
          </p:cNvPicPr>
          <p:nvPr/>
        </p:nvPicPr>
        <p:blipFill>
          <a:blip r:embed="rId3"/>
          <a:stretch>
            <a:fillRect/>
          </a:stretch>
        </p:blipFill>
        <p:spPr>
          <a:xfrm>
            <a:off x="-81280" y="2225040"/>
            <a:ext cx="4767299" cy="1574800"/>
          </a:xfrm>
          <a:prstGeom prst="rect">
            <a:avLst/>
          </a:prstGeom>
        </p:spPr>
      </p:pic>
    </p:spTree>
    <p:extLst>
      <p:ext uri="{BB962C8B-B14F-4D97-AF65-F5344CB8AC3E}">
        <p14:creationId xmlns:p14="http://schemas.microsoft.com/office/powerpoint/2010/main" val="124782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BDCC0-3427-423B-8625-26381885E578}"/>
              </a:ext>
            </a:extLst>
          </p:cNvPr>
          <p:cNvSpPr>
            <a:spLocks noGrp="1"/>
          </p:cNvSpPr>
          <p:nvPr>
            <p:ph type="title"/>
          </p:nvPr>
        </p:nvSpPr>
        <p:spPr/>
        <p:txBody>
          <a:bodyPr wrap="square" anchor="b">
            <a:normAutofit/>
          </a:bodyPr>
          <a:lstStyle/>
          <a:p>
            <a:r>
              <a:rPr lang="en-US" sz="2300"/>
              <a:t>What should you think about when migrating to Azure Infrastructure?</a:t>
            </a:r>
          </a:p>
        </p:txBody>
      </p:sp>
    </p:spTree>
    <p:extLst>
      <p:ext uri="{BB962C8B-B14F-4D97-AF65-F5344CB8AC3E}">
        <p14:creationId xmlns:p14="http://schemas.microsoft.com/office/powerpoint/2010/main" val="2181593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DEE5C2-93CC-4336-A776-F4EAE4EDA638}"/>
              </a:ext>
            </a:extLst>
          </p:cNvPr>
          <p:cNvSpPr>
            <a:spLocks noGrp="1"/>
          </p:cNvSpPr>
          <p:nvPr>
            <p:ph type="title"/>
          </p:nvPr>
        </p:nvSpPr>
        <p:spPr>
          <a:xfrm>
            <a:off x="303035" y="262228"/>
            <a:ext cx="11081177" cy="1020602"/>
          </a:xfrm>
        </p:spPr>
        <p:txBody>
          <a:bodyPr/>
          <a:lstStyle/>
          <a:p>
            <a:pPr lvl="0" defTabSz="911764">
              <a:lnSpc>
                <a:spcPct val="100000"/>
              </a:lnSpc>
              <a:spcBef>
                <a:spcPts val="0"/>
              </a:spcBef>
              <a:defRPr/>
            </a:pPr>
            <a:r>
              <a:rPr lang="en-US">
                <a:solidFill>
                  <a:srgbClr val="50E6FF"/>
                </a:solidFill>
                <a:ea typeface="+mn-ea"/>
                <a:cs typeface="+mn-cs"/>
              </a:rPr>
              <a:t>No migration is ever linear or simple </a:t>
            </a:r>
            <a:br>
              <a:rPr lang="en-US">
                <a:solidFill>
                  <a:srgbClr val="50E6FF"/>
                </a:solidFill>
                <a:ea typeface="+mn-ea"/>
                <a:cs typeface="+mn-cs"/>
              </a:rPr>
            </a:br>
            <a:r>
              <a:rPr lang="en-US" sz="2000">
                <a:solidFill>
                  <a:srgbClr val="FFFFFF"/>
                </a:solidFill>
                <a:ea typeface="+mn-ea"/>
                <a:cs typeface="+mn-cs"/>
              </a:rPr>
              <a:t>Drawn from 100s of engagements by FastTrack for Azure </a:t>
            </a:r>
            <a:endParaRPr lang="en-US"/>
          </a:p>
        </p:txBody>
      </p:sp>
      <p:sp>
        <p:nvSpPr>
          <p:cNvPr id="239" name="Freeform: Shape 238" descr="migration factory offering">
            <a:extLst>
              <a:ext uri="{FF2B5EF4-FFF2-40B4-BE49-F238E27FC236}">
                <a16:creationId xmlns:a16="http://schemas.microsoft.com/office/drawing/2014/main" id="{8CA57EEF-A414-4AEC-A23F-6EA36658A8E3}"/>
              </a:ext>
            </a:extLst>
          </p:cNvPr>
          <p:cNvSpPr/>
          <p:nvPr/>
        </p:nvSpPr>
        <p:spPr>
          <a:xfrm rot="10800000" flipH="1" flipV="1">
            <a:off x="1493565" y="5776995"/>
            <a:ext cx="767465" cy="768169"/>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4878 h 768169"/>
              <a:gd name="connsiteX7" fmla="*/ 745974 w 745974"/>
              <a:gd name="connsiteY7" fmla="*/ 0 h 768169"/>
              <a:gd name="connsiteX8" fmla="*/ 738884 w 745974"/>
              <a:gd name="connsiteY8" fmla="*/ 768169 h 768169"/>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116 h 768169"/>
              <a:gd name="connsiteX7" fmla="*/ 745974 w 745974"/>
              <a:gd name="connsiteY7" fmla="*/ 0 h 768169"/>
              <a:gd name="connsiteX8" fmla="*/ 738884 w 745974"/>
              <a:gd name="connsiteY8" fmla="*/ 768169 h 768169"/>
              <a:gd name="connsiteX0" fmla="*/ 746179 w 753269"/>
              <a:gd name="connsiteY0" fmla="*/ 768169 h 768169"/>
              <a:gd name="connsiteX1" fmla="*/ 396955 w 753269"/>
              <a:gd name="connsiteY1" fmla="*/ 768169 h 768169"/>
              <a:gd name="connsiteX2" fmla="*/ 7295 w 753269"/>
              <a:gd name="connsiteY2" fmla="*/ 378509 h 768169"/>
              <a:gd name="connsiteX3" fmla="*/ 7297 w 753269"/>
              <a:gd name="connsiteY3" fmla="*/ 378509 h 768169"/>
              <a:gd name="connsiteX4" fmla="*/ 10979 w 753269"/>
              <a:gd name="connsiteY4" fmla="*/ 360266 h 768169"/>
              <a:gd name="connsiteX5" fmla="*/ 7297 w 753269"/>
              <a:gd name="connsiteY5" fmla="*/ 342026 h 768169"/>
              <a:gd name="connsiteX6" fmla="*/ 0 w 753269"/>
              <a:gd name="connsiteY6" fmla="*/ 116 h 768169"/>
              <a:gd name="connsiteX7" fmla="*/ 753269 w 753269"/>
              <a:gd name="connsiteY7" fmla="*/ 0 h 768169"/>
              <a:gd name="connsiteX8" fmla="*/ 746179 w 753269"/>
              <a:gd name="connsiteY8" fmla="*/ 768169 h 76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269" h="768169">
                <a:moveTo>
                  <a:pt x="746179" y="768169"/>
                </a:moveTo>
                <a:lnTo>
                  <a:pt x="396955" y="768169"/>
                </a:lnTo>
                <a:cubicBezTo>
                  <a:pt x="181752" y="768169"/>
                  <a:pt x="7295" y="593712"/>
                  <a:pt x="7295" y="378509"/>
                </a:cubicBezTo>
                <a:lnTo>
                  <a:pt x="7297" y="378509"/>
                </a:lnTo>
                <a:lnTo>
                  <a:pt x="10979" y="360266"/>
                </a:lnTo>
                <a:lnTo>
                  <a:pt x="7297" y="342026"/>
                </a:lnTo>
                <a:lnTo>
                  <a:pt x="0" y="116"/>
                </a:lnTo>
                <a:lnTo>
                  <a:pt x="753269" y="0"/>
                </a:lnTo>
                <a:cubicBezTo>
                  <a:pt x="750906" y="256056"/>
                  <a:pt x="748542" y="512113"/>
                  <a:pt x="746179" y="768169"/>
                </a:cubicBezTo>
                <a:close/>
              </a:path>
            </a:pathLst>
          </a:cu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00" name="Freeform: Shape 599" descr="specific migration workloads committed">
            <a:extLst>
              <a:ext uri="{FF2B5EF4-FFF2-40B4-BE49-F238E27FC236}">
                <a16:creationId xmlns:a16="http://schemas.microsoft.com/office/drawing/2014/main" id="{AD7E46A5-3111-44EA-A460-2B8DCDC46683}"/>
              </a:ext>
            </a:extLst>
          </p:cNvPr>
          <p:cNvSpPr/>
          <p:nvPr/>
        </p:nvSpPr>
        <p:spPr>
          <a:xfrm rot="10800000">
            <a:off x="3470563" y="1709678"/>
            <a:ext cx="786560" cy="763593"/>
          </a:xfrm>
          <a:custGeom>
            <a:avLst/>
            <a:gdLst>
              <a:gd name="connsiteX0" fmla="*/ 562649 w 952309"/>
              <a:gd name="connsiteY0" fmla="*/ 786903 h 786903"/>
              <a:gd name="connsiteX1" fmla="*/ 0 w 952309"/>
              <a:gd name="connsiteY1" fmla="*/ 786903 h 786903"/>
              <a:gd name="connsiteX2" fmla="*/ 116686 w 952309"/>
              <a:gd name="connsiteY2" fmla="*/ 7584 h 786903"/>
              <a:gd name="connsiteX3" fmla="*/ 172990 w 952309"/>
              <a:gd name="connsiteY3" fmla="*/ 7584 h 786903"/>
              <a:gd name="connsiteX4" fmla="*/ 172990 w 952309"/>
              <a:gd name="connsiteY4" fmla="*/ 0 h 786903"/>
              <a:gd name="connsiteX5" fmla="*/ 952308 w 952309"/>
              <a:gd name="connsiteY5" fmla="*/ 182809 h 786903"/>
              <a:gd name="connsiteX6" fmla="*/ 952308 w 952309"/>
              <a:gd name="connsiteY6" fmla="*/ 397240 h 786903"/>
              <a:gd name="connsiteX7" fmla="*/ 952309 w 952309"/>
              <a:gd name="connsiteY7" fmla="*/ 397244 h 786903"/>
              <a:gd name="connsiteX8" fmla="*/ 952302 w 952309"/>
              <a:gd name="connsiteY8" fmla="*/ 397278 h 786903"/>
              <a:gd name="connsiteX9" fmla="*/ 928664 w 952309"/>
              <a:gd name="connsiteY9" fmla="*/ 531221 h 786903"/>
              <a:gd name="connsiteX10" fmla="*/ 923412 w 952309"/>
              <a:gd name="connsiteY10" fmla="*/ 540374 h 786903"/>
              <a:gd name="connsiteX11" fmla="*/ 921688 w 952309"/>
              <a:gd name="connsiteY11" fmla="*/ 548916 h 786903"/>
              <a:gd name="connsiteX12" fmla="*/ 885761 w 952309"/>
              <a:gd name="connsiteY12" fmla="*/ 615106 h 786903"/>
              <a:gd name="connsiteX13" fmla="*/ 868618 w 952309"/>
              <a:gd name="connsiteY13" fmla="*/ 635884 h 786903"/>
              <a:gd name="connsiteX14" fmla="*/ 863329 w 952309"/>
              <a:gd name="connsiteY14" fmla="*/ 645102 h 786903"/>
              <a:gd name="connsiteX15" fmla="*/ 848378 w 952309"/>
              <a:gd name="connsiteY15" fmla="*/ 660414 h 786903"/>
              <a:gd name="connsiteX16" fmla="*/ 838180 w 952309"/>
              <a:gd name="connsiteY16" fmla="*/ 672774 h 786903"/>
              <a:gd name="connsiteX17" fmla="*/ 828557 w 952309"/>
              <a:gd name="connsiteY17" fmla="*/ 680714 h 786903"/>
              <a:gd name="connsiteX18" fmla="*/ 817652 w 952309"/>
              <a:gd name="connsiteY18" fmla="*/ 691883 h 786903"/>
              <a:gd name="connsiteX19" fmla="*/ 795026 w 952309"/>
              <a:gd name="connsiteY19" fmla="*/ 708380 h 786903"/>
              <a:gd name="connsiteX20" fmla="*/ 780512 w 952309"/>
              <a:gd name="connsiteY20" fmla="*/ 720355 h 786903"/>
              <a:gd name="connsiteX21" fmla="*/ 773037 w 952309"/>
              <a:gd name="connsiteY21" fmla="*/ 724412 h 786903"/>
              <a:gd name="connsiteX22" fmla="*/ 764701 w 952309"/>
              <a:gd name="connsiteY22" fmla="*/ 730490 h 786903"/>
              <a:gd name="connsiteX23" fmla="*/ 731090 w 952309"/>
              <a:gd name="connsiteY23" fmla="*/ 747180 h 786903"/>
              <a:gd name="connsiteX24" fmla="*/ 714322 w 952309"/>
              <a:gd name="connsiteY24" fmla="*/ 756282 h 786903"/>
              <a:gd name="connsiteX25" fmla="*/ 710160 w 952309"/>
              <a:gd name="connsiteY25" fmla="*/ 757574 h 786903"/>
              <a:gd name="connsiteX26" fmla="*/ 705527 w 952309"/>
              <a:gd name="connsiteY26" fmla="*/ 759874 h 786903"/>
              <a:gd name="connsiteX27" fmla="*/ 641231 w 952309"/>
              <a:gd name="connsiteY27" fmla="*/ 778970 h 786903"/>
              <a:gd name="connsiteX28" fmla="*/ 641179 w 952309"/>
              <a:gd name="connsiteY28" fmla="*/ 778987 h 786903"/>
              <a:gd name="connsiteX29" fmla="*/ 562649 w 952309"/>
              <a:gd name="connsiteY29" fmla="*/ 786903 h 786903"/>
              <a:gd name="connsiteX0" fmla="*/ 463258 w 852918"/>
              <a:gd name="connsiteY0" fmla="*/ 786903 h 786903"/>
              <a:gd name="connsiteX1" fmla="*/ 0 w 852918"/>
              <a:gd name="connsiteY1" fmla="*/ 786903 h 786903"/>
              <a:gd name="connsiteX2" fmla="*/ 17295 w 852918"/>
              <a:gd name="connsiteY2" fmla="*/ 7584 h 786903"/>
              <a:gd name="connsiteX3" fmla="*/ 73599 w 852918"/>
              <a:gd name="connsiteY3" fmla="*/ 7584 h 786903"/>
              <a:gd name="connsiteX4" fmla="*/ 73599 w 852918"/>
              <a:gd name="connsiteY4" fmla="*/ 0 h 786903"/>
              <a:gd name="connsiteX5" fmla="*/ 852917 w 852918"/>
              <a:gd name="connsiteY5" fmla="*/ 182809 h 786903"/>
              <a:gd name="connsiteX6" fmla="*/ 852917 w 852918"/>
              <a:gd name="connsiteY6" fmla="*/ 397240 h 786903"/>
              <a:gd name="connsiteX7" fmla="*/ 852918 w 852918"/>
              <a:gd name="connsiteY7" fmla="*/ 397244 h 786903"/>
              <a:gd name="connsiteX8" fmla="*/ 852911 w 852918"/>
              <a:gd name="connsiteY8" fmla="*/ 397278 h 786903"/>
              <a:gd name="connsiteX9" fmla="*/ 829273 w 852918"/>
              <a:gd name="connsiteY9" fmla="*/ 531221 h 786903"/>
              <a:gd name="connsiteX10" fmla="*/ 824021 w 852918"/>
              <a:gd name="connsiteY10" fmla="*/ 540374 h 786903"/>
              <a:gd name="connsiteX11" fmla="*/ 822297 w 852918"/>
              <a:gd name="connsiteY11" fmla="*/ 548916 h 786903"/>
              <a:gd name="connsiteX12" fmla="*/ 786370 w 852918"/>
              <a:gd name="connsiteY12" fmla="*/ 615106 h 786903"/>
              <a:gd name="connsiteX13" fmla="*/ 769227 w 852918"/>
              <a:gd name="connsiteY13" fmla="*/ 635884 h 786903"/>
              <a:gd name="connsiteX14" fmla="*/ 763938 w 852918"/>
              <a:gd name="connsiteY14" fmla="*/ 645102 h 786903"/>
              <a:gd name="connsiteX15" fmla="*/ 748987 w 852918"/>
              <a:gd name="connsiteY15" fmla="*/ 660414 h 786903"/>
              <a:gd name="connsiteX16" fmla="*/ 738789 w 852918"/>
              <a:gd name="connsiteY16" fmla="*/ 672774 h 786903"/>
              <a:gd name="connsiteX17" fmla="*/ 729166 w 852918"/>
              <a:gd name="connsiteY17" fmla="*/ 680714 h 786903"/>
              <a:gd name="connsiteX18" fmla="*/ 718261 w 852918"/>
              <a:gd name="connsiteY18" fmla="*/ 691883 h 786903"/>
              <a:gd name="connsiteX19" fmla="*/ 695635 w 852918"/>
              <a:gd name="connsiteY19" fmla="*/ 708380 h 786903"/>
              <a:gd name="connsiteX20" fmla="*/ 681121 w 852918"/>
              <a:gd name="connsiteY20" fmla="*/ 720355 h 786903"/>
              <a:gd name="connsiteX21" fmla="*/ 673646 w 852918"/>
              <a:gd name="connsiteY21" fmla="*/ 724412 h 786903"/>
              <a:gd name="connsiteX22" fmla="*/ 665310 w 852918"/>
              <a:gd name="connsiteY22" fmla="*/ 730490 h 786903"/>
              <a:gd name="connsiteX23" fmla="*/ 631699 w 852918"/>
              <a:gd name="connsiteY23" fmla="*/ 747180 h 786903"/>
              <a:gd name="connsiteX24" fmla="*/ 614931 w 852918"/>
              <a:gd name="connsiteY24" fmla="*/ 756282 h 786903"/>
              <a:gd name="connsiteX25" fmla="*/ 610769 w 852918"/>
              <a:gd name="connsiteY25" fmla="*/ 757574 h 786903"/>
              <a:gd name="connsiteX26" fmla="*/ 606136 w 852918"/>
              <a:gd name="connsiteY26" fmla="*/ 759874 h 786903"/>
              <a:gd name="connsiteX27" fmla="*/ 541840 w 852918"/>
              <a:gd name="connsiteY27" fmla="*/ 778970 h 786903"/>
              <a:gd name="connsiteX28" fmla="*/ 541788 w 852918"/>
              <a:gd name="connsiteY28" fmla="*/ 778987 h 786903"/>
              <a:gd name="connsiteX29" fmla="*/ 463258 w 852918"/>
              <a:gd name="connsiteY29" fmla="*/ 786903 h 786903"/>
              <a:gd name="connsiteX0" fmla="*/ 445963 w 835623"/>
              <a:gd name="connsiteY0" fmla="*/ 786903 h 786903"/>
              <a:gd name="connsiteX1" fmla="*/ 122 w 835623"/>
              <a:gd name="connsiteY1" fmla="*/ 786903 h 786903"/>
              <a:gd name="connsiteX2" fmla="*/ 0 w 835623"/>
              <a:gd name="connsiteY2" fmla="*/ 7584 h 786903"/>
              <a:gd name="connsiteX3" fmla="*/ 56304 w 835623"/>
              <a:gd name="connsiteY3" fmla="*/ 7584 h 786903"/>
              <a:gd name="connsiteX4" fmla="*/ 56304 w 835623"/>
              <a:gd name="connsiteY4" fmla="*/ 0 h 786903"/>
              <a:gd name="connsiteX5" fmla="*/ 835622 w 835623"/>
              <a:gd name="connsiteY5" fmla="*/ 182809 h 786903"/>
              <a:gd name="connsiteX6" fmla="*/ 835622 w 835623"/>
              <a:gd name="connsiteY6" fmla="*/ 397240 h 786903"/>
              <a:gd name="connsiteX7" fmla="*/ 835623 w 835623"/>
              <a:gd name="connsiteY7" fmla="*/ 397244 h 786903"/>
              <a:gd name="connsiteX8" fmla="*/ 835616 w 835623"/>
              <a:gd name="connsiteY8" fmla="*/ 397278 h 786903"/>
              <a:gd name="connsiteX9" fmla="*/ 811978 w 835623"/>
              <a:gd name="connsiteY9" fmla="*/ 531221 h 786903"/>
              <a:gd name="connsiteX10" fmla="*/ 806726 w 835623"/>
              <a:gd name="connsiteY10" fmla="*/ 540374 h 786903"/>
              <a:gd name="connsiteX11" fmla="*/ 805002 w 835623"/>
              <a:gd name="connsiteY11" fmla="*/ 548916 h 786903"/>
              <a:gd name="connsiteX12" fmla="*/ 769075 w 835623"/>
              <a:gd name="connsiteY12" fmla="*/ 615106 h 786903"/>
              <a:gd name="connsiteX13" fmla="*/ 751932 w 835623"/>
              <a:gd name="connsiteY13" fmla="*/ 635884 h 786903"/>
              <a:gd name="connsiteX14" fmla="*/ 746643 w 835623"/>
              <a:gd name="connsiteY14" fmla="*/ 645102 h 786903"/>
              <a:gd name="connsiteX15" fmla="*/ 731692 w 835623"/>
              <a:gd name="connsiteY15" fmla="*/ 660414 h 786903"/>
              <a:gd name="connsiteX16" fmla="*/ 721494 w 835623"/>
              <a:gd name="connsiteY16" fmla="*/ 672774 h 786903"/>
              <a:gd name="connsiteX17" fmla="*/ 711871 w 835623"/>
              <a:gd name="connsiteY17" fmla="*/ 680714 h 786903"/>
              <a:gd name="connsiteX18" fmla="*/ 700966 w 835623"/>
              <a:gd name="connsiteY18" fmla="*/ 691883 h 786903"/>
              <a:gd name="connsiteX19" fmla="*/ 678340 w 835623"/>
              <a:gd name="connsiteY19" fmla="*/ 708380 h 786903"/>
              <a:gd name="connsiteX20" fmla="*/ 663826 w 835623"/>
              <a:gd name="connsiteY20" fmla="*/ 720355 h 786903"/>
              <a:gd name="connsiteX21" fmla="*/ 656351 w 835623"/>
              <a:gd name="connsiteY21" fmla="*/ 724412 h 786903"/>
              <a:gd name="connsiteX22" fmla="*/ 648015 w 835623"/>
              <a:gd name="connsiteY22" fmla="*/ 730490 h 786903"/>
              <a:gd name="connsiteX23" fmla="*/ 614404 w 835623"/>
              <a:gd name="connsiteY23" fmla="*/ 747180 h 786903"/>
              <a:gd name="connsiteX24" fmla="*/ 597636 w 835623"/>
              <a:gd name="connsiteY24" fmla="*/ 756282 h 786903"/>
              <a:gd name="connsiteX25" fmla="*/ 593474 w 835623"/>
              <a:gd name="connsiteY25" fmla="*/ 757574 h 786903"/>
              <a:gd name="connsiteX26" fmla="*/ 588841 w 835623"/>
              <a:gd name="connsiteY26" fmla="*/ 759874 h 786903"/>
              <a:gd name="connsiteX27" fmla="*/ 524545 w 835623"/>
              <a:gd name="connsiteY27" fmla="*/ 778970 h 786903"/>
              <a:gd name="connsiteX28" fmla="*/ 524493 w 835623"/>
              <a:gd name="connsiteY28" fmla="*/ 778987 h 786903"/>
              <a:gd name="connsiteX29" fmla="*/ 445963 w 835623"/>
              <a:gd name="connsiteY29" fmla="*/ 786903 h 786903"/>
              <a:gd name="connsiteX0" fmla="*/ 445963 w 835623"/>
              <a:gd name="connsiteY0" fmla="*/ 786903 h 786903"/>
              <a:gd name="connsiteX1" fmla="*/ 122 w 835623"/>
              <a:gd name="connsiteY1" fmla="*/ 786903 h 786903"/>
              <a:gd name="connsiteX2" fmla="*/ 0 w 835623"/>
              <a:gd name="connsiteY2" fmla="*/ 7584 h 786903"/>
              <a:gd name="connsiteX3" fmla="*/ 56304 w 835623"/>
              <a:gd name="connsiteY3" fmla="*/ 7584 h 786903"/>
              <a:gd name="connsiteX4" fmla="*/ 56304 w 835623"/>
              <a:gd name="connsiteY4" fmla="*/ 0 h 786903"/>
              <a:gd name="connsiteX5" fmla="*/ 831503 w 835623"/>
              <a:gd name="connsiteY5" fmla="*/ 13934 h 786903"/>
              <a:gd name="connsiteX6" fmla="*/ 835622 w 835623"/>
              <a:gd name="connsiteY6" fmla="*/ 397240 h 786903"/>
              <a:gd name="connsiteX7" fmla="*/ 835623 w 835623"/>
              <a:gd name="connsiteY7" fmla="*/ 397244 h 786903"/>
              <a:gd name="connsiteX8" fmla="*/ 835616 w 835623"/>
              <a:gd name="connsiteY8" fmla="*/ 397278 h 786903"/>
              <a:gd name="connsiteX9" fmla="*/ 811978 w 835623"/>
              <a:gd name="connsiteY9" fmla="*/ 531221 h 786903"/>
              <a:gd name="connsiteX10" fmla="*/ 806726 w 835623"/>
              <a:gd name="connsiteY10" fmla="*/ 540374 h 786903"/>
              <a:gd name="connsiteX11" fmla="*/ 805002 w 835623"/>
              <a:gd name="connsiteY11" fmla="*/ 548916 h 786903"/>
              <a:gd name="connsiteX12" fmla="*/ 769075 w 835623"/>
              <a:gd name="connsiteY12" fmla="*/ 615106 h 786903"/>
              <a:gd name="connsiteX13" fmla="*/ 751932 w 835623"/>
              <a:gd name="connsiteY13" fmla="*/ 635884 h 786903"/>
              <a:gd name="connsiteX14" fmla="*/ 746643 w 835623"/>
              <a:gd name="connsiteY14" fmla="*/ 645102 h 786903"/>
              <a:gd name="connsiteX15" fmla="*/ 731692 w 835623"/>
              <a:gd name="connsiteY15" fmla="*/ 660414 h 786903"/>
              <a:gd name="connsiteX16" fmla="*/ 721494 w 835623"/>
              <a:gd name="connsiteY16" fmla="*/ 672774 h 786903"/>
              <a:gd name="connsiteX17" fmla="*/ 711871 w 835623"/>
              <a:gd name="connsiteY17" fmla="*/ 680714 h 786903"/>
              <a:gd name="connsiteX18" fmla="*/ 700966 w 835623"/>
              <a:gd name="connsiteY18" fmla="*/ 691883 h 786903"/>
              <a:gd name="connsiteX19" fmla="*/ 678340 w 835623"/>
              <a:gd name="connsiteY19" fmla="*/ 708380 h 786903"/>
              <a:gd name="connsiteX20" fmla="*/ 663826 w 835623"/>
              <a:gd name="connsiteY20" fmla="*/ 720355 h 786903"/>
              <a:gd name="connsiteX21" fmla="*/ 656351 w 835623"/>
              <a:gd name="connsiteY21" fmla="*/ 724412 h 786903"/>
              <a:gd name="connsiteX22" fmla="*/ 648015 w 835623"/>
              <a:gd name="connsiteY22" fmla="*/ 730490 h 786903"/>
              <a:gd name="connsiteX23" fmla="*/ 614404 w 835623"/>
              <a:gd name="connsiteY23" fmla="*/ 747180 h 786903"/>
              <a:gd name="connsiteX24" fmla="*/ 597636 w 835623"/>
              <a:gd name="connsiteY24" fmla="*/ 756282 h 786903"/>
              <a:gd name="connsiteX25" fmla="*/ 593474 w 835623"/>
              <a:gd name="connsiteY25" fmla="*/ 757574 h 786903"/>
              <a:gd name="connsiteX26" fmla="*/ 588841 w 835623"/>
              <a:gd name="connsiteY26" fmla="*/ 759874 h 786903"/>
              <a:gd name="connsiteX27" fmla="*/ 524545 w 835623"/>
              <a:gd name="connsiteY27" fmla="*/ 778970 h 786903"/>
              <a:gd name="connsiteX28" fmla="*/ 524493 w 835623"/>
              <a:gd name="connsiteY28" fmla="*/ 778987 h 786903"/>
              <a:gd name="connsiteX29" fmla="*/ 445963 w 835623"/>
              <a:gd name="connsiteY29" fmla="*/ 786903 h 786903"/>
              <a:gd name="connsiteX0" fmla="*/ 445963 w 835623"/>
              <a:gd name="connsiteY0" fmla="*/ 779319 h 779319"/>
              <a:gd name="connsiteX1" fmla="*/ 122 w 835623"/>
              <a:gd name="connsiteY1" fmla="*/ 779319 h 779319"/>
              <a:gd name="connsiteX2" fmla="*/ 0 w 835623"/>
              <a:gd name="connsiteY2" fmla="*/ 0 h 779319"/>
              <a:gd name="connsiteX3" fmla="*/ 56304 w 835623"/>
              <a:gd name="connsiteY3" fmla="*/ 0 h 779319"/>
              <a:gd name="connsiteX4" fmla="*/ 831503 w 835623"/>
              <a:gd name="connsiteY4" fmla="*/ 6350 h 779319"/>
              <a:gd name="connsiteX5" fmla="*/ 835622 w 835623"/>
              <a:gd name="connsiteY5" fmla="*/ 389656 h 779319"/>
              <a:gd name="connsiteX6" fmla="*/ 835623 w 835623"/>
              <a:gd name="connsiteY6" fmla="*/ 389660 h 779319"/>
              <a:gd name="connsiteX7" fmla="*/ 835616 w 835623"/>
              <a:gd name="connsiteY7" fmla="*/ 389694 h 779319"/>
              <a:gd name="connsiteX8" fmla="*/ 811978 w 835623"/>
              <a:gd name="connsiteY8" fmla="*/ 523637 h 779319"/>
              <a:gd name="connsiteX9" fmla="*/ 806726 w 835623"/>
              <a:gd name="connsiteY9" fmla="*/ 532790 h 779319"/>
              <a:gd name="connsiteX10" fmla="*/ 805002 w 835623"/>
              <a:gd name="connsiteY10" fmla="*/ 541332 h 779319"/>
              <a:gd name="connsiteX11" fmla="*/ 769075 w 835623"/>
              <a:gd name="connsiteY11" fmla="*/ 607522 h 779319"/>
              <a:gd name="connsiteX12" fmla="*/ 751932 w 835623"/>
              <a:gd name="connsiteY12" fmla="*/ 628300 h 779319"/>
              <a:gd name="connsiteX13" fmla="*/ 746643 w 835623"/>
              <a:gd name="connsiteY13" fmla="*/ 637518 h 779319"/>
              <a:gd name="connsiteX14" fmla="*/ 731692 w 835623"/>
              <a:gd name="connsiteY14" fmla="*/ 652830 h 779319"/>
              <a:gd name="connsiteX15" fmla="*/ 721494 w 835623"/>
              <a:gd name="connsiteY15" fmla="*/ 665190 h 779319"/>
              <a:gd name="connsiteX16" fmla="*/ 711871 w 835623"/>
              <a:gd name="connsiteY16" fmla="*/ 673130 h 779319"/>
              <a:gd name="connsiteX17" fmla="*/ 700966 w 835623"/>
              <a:gd name="connsiteY17" fmla="*/ 684299 h 779319"/>
              <a:gd name="connsiteX18" fmla="*/ 678340 w 835623"/>
              <a:gd name="connsiteY18" fmla="*/ 700796 h 779319"/>
              <a:gd name="connsiteX19" fmla="*/ 663826 w 835623"/>
              <a:gd name="connsiteY19" fmla="*/ 712771 h 779319"/>
              <a:gd name="connsiteX20" fmla="*/ 656351 w 835623"/>
              <a:gd name="connsiteY20" fmla="*/ 716828 h 779319"/>
              <a:gd name="connsiteX21" fmla="*/ 648015 w 835623"/>
              <a:gd name="connsiteY21" fmla="*/ 722906 h 779319"/>
              <a:gd name="connsiteX22" fmla="*/ 614404 w 835623"/>
              <a:gd name="connsiteY22" fmla="*/ 739596 h 779319"/>
              <a:gd name="connsiteX23" fmla="*/ 597636 w 835623"/>
              <a:gd name="connsiteY23" fmla="*/ 748698 h 779319"/>
              <a:gd name="connsiteX24" fmla="*/ 593474 w 835623"/>
              <a:gd name="connsiteY24" fmla="*/ 749990 h 779319"/>
              <a:gd name="connsiteX25" fmla="*/ 588841 w 835623"/>
              <a:gd name="connsiteY25" fmla="*/ 752290 h 779319"/>
              <a:gd name="connsiteX26" fmla="*/ 524545 w 835623"/>
              <a:gd name="connsiteY26" fmla="*/ 771386 h 779319"/>
              <a:gd name="connsiteX27" fmla="*/ 524493 w 835623"/>
              <a:gd name="connsiteY27" fmla="*/ 771403 h 779319"/>
              <a:gd name="connsiteX28" fmla="*/ 445963 w 835623"/>
              <a:gd name="connsiteY28" fmla="*/ 779319 h 779319"/>
              <a:gd name="connsiteX0" fmla="*/ 445963 w 835623"/>
              <a:gd name="connsiteY0" fmla="*/ 779319 h 779319"/>
              <a:gd name="connsiteX1" fmla="*/ 122 w 835623"/>
              <a:gd name="connsiteY1" fmla="*/ 779319 h 779319"/>
              <a:gd name="connsiteX2" fmla="*/ 0 w 835623"/>
              <a:gd name="connsiteY2" fmla="*/ 0 h 779319"/>
              <a:gd name="connsiteX3" fmla="*/ 831503 w 835623"/>
              <a:gd name="connsiteY3" fmla="*/ 6350 h 779319"/>
              <a:gd name="connsiteX4" fmla="*/ 835622 w 835623"/>
              <a:gd name="connsiteY4" fmla="*/ 389656 h 779319"/>
              <a:gd name="connsiteX5" fmla="*/ 835623 w 835623"/>
              <a:gd name="connsiteY5" fmla="*/ 389660 h 779319"/>
              <a:gd name="connsiteX6" fmla="*/ 835616 w 835623"/>
              <a:gd name="connsiteY6" fmla="*/ 389694 h 779319"/>
              <a:gd name="connsiteX7" fmla="*/ 811978 w 835623"/>
              <a:gd name="connsiteY7" fmla="*/ 523637 h 779319"/>
              <a:gd name="connsiteX8" fmla="*/ 806726 w 835623"/>
              <a:gd name="connsiteY8" fmla="*/ 532790 h 779319"/>
              <a:gd name="connsiteX9" fmla="*/ 805002 w 835623"/>
              <a:gd name="connsiteY9" fmla="*/ 541332 h 779319"/>
              <a:gd name="connsiteX10" fmla="*/ 769075 w 835623"/>
              <a:gd name="connsiteY10" fmla="*/ 607522 h 779319"/>
              <a:gd name="connsiteX11" fmla="*/ 751932 w 835623"/>
              <a:gd name="connsiteY11" fmla="*/ 628300 h 779319"/>
              <a:gd name="connsiteX12" fmla="*/ 746643 w 835623"/>
              <a:gd name="connsiteY12" fmla="*/ 637518 h 779319"/>
              <a:gd name="connsiteX13" fmla="*/ 731692 w 835623"/>
              <a:gd name="connsiteY13" fmla="*/ 652830 h 779319"/>
              <a:gd name="connsiteX14" fmla="*/ 721494 w 835623"/>
              <a:gd name="connsiteY14" fmla="*/ 665190 h 779319"/>
              <a:gd name="connsiteX15" fmla="*/ 711871 w 835623"/>
              <a:gd name="connsiteY15" fmla="*/ 673130 h 779319"/>
              <a:gd name="connsiteX16" fmla="*/ 700966 w 835623"/>
              <a:gd name="connsiteY16" fmla="*/ 684299 h 779319"/>
              <a:gd name="connsiteX17" fmla="*/ 678340 w 835623"/>
              <a:gd name="connsiteY17" fmla="*/ 700796 h 779319"/>
              <a:gd name="connsiteX18" fmla="*/ 663826 w 835623"/>
              <a:gd name="connsiteY18" fmla="*/ 712771 h 779319"/>
              <a:gd name="connsiteX19" fmla="*/ 656351 w 835623"/>
              <a:gd name="connsiteY19" fmla="*/ 716828 h 779319"/>
              <a:gd name="connsiteX20" fmla="*/ 648015 w 835623"/>
              <a:gd name="connsiteY20" fmla="*/ 722906 h 779319"/>
              <a:gd name="connsiteX21" fmla="*/ 614404 w 835623"/>
              <a:gd name="connsiteY21" fmla="*/ 739596 h 779319"/>
              <a:gd name="connsiteX22" fmla="*/ 597636 w 835623"/>
              <a:gd name="connsiteY22" fmla="*/ 748698 h 779319"/>
              <a:gd name="connsiteX23" fmla="*/ 593474 w 835623"/>
              <a:gd name="connsiteY23" fmla="*/ 749990 h 779319"/>
              <a:gd name="connsiteX24" fmla="*/ 588841 w 835623"/>
              <a:gd name="connsiteY24" fmla="*/ 752290 h 779319"/>
              <a:gd name="connsiteX25" fmla="*/ 524545 w 835623"/>
              <a:gd name="connsiteY25" fmla="*/ 771386 h 779319"/>
              <a:gd name="connsiteX26" fmla="*/ 524493 w 835623"/>
              <a:gd name="connsiteY26" fmla="*/ 771403 h 779319"/>
              <a:gd name="connsiteX27" fmla="*/ 445963 w 835623"/>
              <a:gd name="connsiteY27" fmla="*/ 779319 h 77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35623" h="779319">
                <a:moveTo>
                  <a:pt x="445963" y="779319"/>
                </a:moveTo>
                <a:lnTo>
                  <a:pt x="122" y="779319"/>
                </a:lnTo>
                <a:cubicBezTo>
                  <a:pt x="81" y="519546"/>
                  <a:pt x="41" y="259773"/>
                  <a:pt x="0" y="0"/>
                </a:cubicBezTo>
                <a:lnTo>
                  <a:pt x="831503" y="6350"/>
                </a:lnTo>
                <a:cubicBezTo>
                  <a:pt x="831503" y="77827"/>
                  <a:pt x="835622" y="318179"/>
                  <a:pt x="835622" y="389656"/>
                </a:cubicBezTo>
                <a:cubicBezTo>
                  <a:pt x="835622" y="389657"/>
                  <a:pt x="835623" y="389659"/>
                  <a:pt x="835623" y="389660"/>
                </a:cubicBezTo>
                <a:cubicBezTo>
                  <a:pt x="835621" y="389671"/>
                  <a:pt x="835618" y="389683"/>
                  <a:pt x="835616" y="389694"/>
                </a:cubicBezTo>
                <a:lnTo>
                  <a:pt x="811978" y="523637"/>
                </a:lnTo>
                <a:lnTo>
                  <a:pt x="806726" y="532790"/>
                </a:lnTo>
                <a:lnTo>
                  <a:pt x="805002" y="541332"/>
                </a:lnTo>
                <a:cubicBezTo>
                  <a:pt x="795143" y="564641"/>
                  <a:pt x="783080" y="586792"/>
                  <a:pt x="769075" y="607522"/>
                </a:cubicBezTo>
                <a:lnTo>
                  <a:pt x="751932" y="628300"/>
                </a:lnTo>
                <a:lnTo>
                  <a:pt x="746643" y="637518"/>
                </a:lnTo>
                <a:lnTo>
                  <a:pt x="731692" y="652830"/>
                </a:lnTo>
                <a:lnTo>
                  <a:pt x="721494" y="665190"/>
                </a:lnTo>
                <a:lnTo>
                  <a:pt x="711871" y="673130"/>
                </a:lnTo>
                <a:lnTo>
                  <a:pt x="700966" y="684299"/>
                </a:lnTo>
                <a:lnTo>
                  <a:pt x="678340" y="700796"/>
                </a:lnTo>
                <a:lnTo>
                  <a:pt x="663826" y="712771"/>
                </a:lnTo>
                <a:lnTo>
                  <a:pt x="656351" y="716828"/>
                </a:lnTo>
                <a:lnTo>
                  <a:pt x="648015" y="722906"/>
                </a:lnTo>
                <a:lnTo>
                  <a:pt x="614404" y="739596"/>
                </a:lnTo>
                <a:lnTo>
                  <a:pt x="597636" y="748698"/>
                </a:lnTo>
                <a:lnTo>
                  <a:pt x="593474" y="749990"/>
                </a:lnTo>
                <a:lnTo>
                  <a:pt x="588841" y="752290"/>
                </a:lnTo>
                <a:lnTo>
                  <a:pt x="524545" y="771386"/>
                </a:lnTo>
                <a:cubicBezTo>
                  <a:pt x="524528" y="771392"/>
                  <a:pt x="524510" y="771397"/>
                  <a:pt x="524493" y="771403"/>
                </a:cubicBezTo>
                <a:cubicBezTo>
                  <a:pt x="499127" y="776593"/>
                  <a:pt x="472864" y="779319"/>
                  <a:pt x="445963" y="779319"/>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9" name="Rectangle 598" descr="Azure foundations">
            <a:extLst>
              <a:ext uri="{FF2B5EF4-FFF2-40B4-BE49-F238E27FC236}">
                <a16:creationId xmlns:a16="http://schemas.microsoft.com/office/drawing/2014/main" id="{97415616-F092-4FBB-ADAC-018687D08929}"/>
              </a:ext>
            </a:extLst>
          </p:cNvPr>
          <p:cNvSpPr/>
          <p:nvPr/>
        </p:nvSpPr>
        <p:spPr>
          <a:xfrm rot="10800000">
            <a:off x="4288615" y="1709681"/>
            <a:ext cx="798802" cy="779320"/>
          </a:xfrm>
          <a:prstGeom prst="rect">
            <a:avLst/>
          </a:pr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8" name="Freeform: Shape 597" descr="Migration training">
            <a:extLst>
              <a:ext uri="{FF2B5EF4-FFF2-40B4-BE49-F238E27FC236}">
                <a16:creationId xmlns:a16="http://schemas.microsoft.com/office/drawing/2014/main" id="{39CEC0FA-90DD-4BC6-B4C0-40C7FC6A3345}"/>
              </a:ext>
            </a:extLst>
          </p:cNvPr>
          <p:cNvSpPr/>
          <p:nvPr/>
        </p:nvSpPr>
        <p:spPr>
          <a:xfrm rot="10800000">
            <a:off x="5121500" y="1709681"/>
            <a:ext cx="871288" cy="779320"/>
          </a:xfrm>
          <a:custGeom>
            <a:avLst/>
            <a:gdLst>
              <a:gd name="connsiteX0" fmla="*/ 832630 w 832630"/>
              <a:gd name="connsiteY0" fmla="*/ 779320 h 779320"/>
              <a:gd name="connsiteX1" fmla="*/ 46716 w 832630"/>
              <a:gd name="connsiteY1" fmla="*/ 779320 h 779320"/>
              <a:gd name="connsiteX2" fmla="*/ 0 w 832630"/>
              <a:gd name="connsiteY2" fmla="*/ 774610 h 779320"/>
              <a:gd name="connsiteX3" fmla="*/ 470455 w 832630"/>
              <a:gd name="connsiteY3" fmla="*/ 0 h 779320"/>
              <a:gd name="connsiteX4" fmla="*/ 832630 w 832630"/>
              <a:gd name="connsiteY4" fmla="*/ 0 h 779320"/>
              <a:gd name="connsiteX5" fmla="*/ 832630 w 832630"/>
              <a:gd name="connsiteY5" fmla="*/ 779320 h 779320"/>
              <a:gd name="connsiteX0" fmla="*/ 832630 w 832630"/>
              <a:gd name="connsiteY0" fmla="*/ 779320 h 779320"/>
              <a:gd name="connsiteX1" fmla="*/ 46716 w 832630"/>
              <a:gd name="connsiteY1" fmla="*/ 779320 h 779320"/>
              <a:gd name="connsiteX2" fmla="*/ 0 w 832630"/>
              <a:gd name="connsiteY2" fmla="*/ 774610 h 779320"/>
              <a:gd name="connsiteX3" fmla="*/ 446839 w 832630"/>
              <a:gd name="connsiteY3" fmla="*/ 0 h 779320"/>
              <a:gd name="connsiteX4" fmla="*/ 832630 w 832630"/>
              <a:gd name="connsiteY4" fmla="*/ 0 h 779320"/>
              <a:gd name="connsiteX5" fmla="*/ 832630 w 832630"/>
              <a:gd name="connsiteY5" fmla="*/ 779320 h 779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2630" h="779320">
                <a:moveTo>
                  <a:pt x="832630" y="779320"/>
                </a:moveTo>
                <a:lnTo>
                  <a:pt x="46716" y="779320"/>
                </a:lnTo>
                <a:lnTo>
                  <a:pt x="0" y="774610"/>
                </a:lnTo>
                <a:lnTo>
                  <a:pt x="446839" y="0"/>
                </a:lnTo>
                <a:lnTo>
                  <a:pt x="832630" y="0"/>
                </a:lnTo>
                <a:lnTo>
                  <a:pt x="832630" y="779320"/>
                </a:lnTo>
                <a:close/>
              </a:path>
            </a:pathLst>
          </a:cu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7" name="Freeform: Shape 596" descr="Azure administration">
            <a:extLst>
              <a:ext uri="{FF2B5EF4-FFF2-40B4-BE49-F238E27FC236}">
                <a16:creationId xmlns:a16="http://schemas.microsoft.com/office/drawing/2014/main" id="{D8DFF245-F74F-459F-ADDD-4DE556ECB2D7}"/>
              </a:ext>
            </a:extLst>
          </p:cNvPr>
          <p:cNvSpPr/>
          <p:nvPr/>
        </p:nvSpPr>
        <p:spPr>
          <a:xfrm rot="10800000">
            <a:off x="5554428" y="1717440"/>
            <a:ext cx="781304" cy="928119"/>
          </a:xfrm>
          <a:custGeom>
            <a:avLst/>
            <a:gdLst>
              <a:gd name="connsiteX0" fmla="*/ 312700 w 781304"/>
              <a:gd name="connsiteY0" fmla="*/ 928119 h 928119"/>
              <a:gd name="connsiteX1" fmla="*/ 311130 w 781304"/>
              <a:gd name="connsiteY1" fmla="*/ 927961 h 928119"/>
              <a:gd name="connsiteX2" fmla="*/ 0 w 781304"/>
              <a:gd name="connsiteY2" fmla="*/ 546218 h 928119"/>
              <a:gd name="connsiteX3" fmla="*/ 1 w 781304"/>
              <a:gd name="connsiteY3" fmla="*/ 546218 h 928119"/>
              <a:gd name="connsiteX4" fmla="*/ 2 w 781304"/>
              <a:gd name="connsiteY4" fmla="*/ 546216 h 928119"/>
              <a:gd name="connsiteX5" fmla="*/ 2 w 781304"/>
              <a:gd name="connsiteY5" fmla="*/ 0 h 928119"/>
              <a:gd name="connsiteX6" fmla="*/ 779321 w 781304"/>
              <a:gd name="connsiteY6" fmla="*/ 0 h 928119"/>
              <a:gd name="connsiteX7" fmla="*/ 779321 w 781304"/>
              <a:gd name="connsiteY7" fmla="*/ 156558 h 928119"/>
              <a:gd name="connsiteX8" fmla="*/ 781304 w 781304"/>
              <a:gd name="connsiteY8" fmla="*/ 156558 h 928119"/>
              <a:gd name="connsiteX9" fmla="*/ 312700 w 781304"/>
              <a:gd name="connsiteY9" fmla="*/ 928119 h 92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304" h="928119">
                <a:moveTo>
                  <a:pt x="312700" y="928119"/>
                </a:moveTo>
                <a:lnTo>
                  <a:pt x="311130" y="927961"/>
                </a:lnTo>
                <a:cubicBezTo>
                  <a:pt x="133569" y="891627"/>
                  <a:pt x="0" y="734521"/>
                  <a:pt x="0" y="546218"/>
                </a:cubicBezTo>
                <a:lnTo>
                  <a:pt x="1" y="546218"/>
                </a:lnTo>
                <a:lnTo>
                  <a:pt x="2" y="546216"/>
                </a:lnTo>
                <a:lnTo>
                  <a:pt x="2" y="0"/>
                </a:lnTo>
                <a:lnTo>
                  <a:pt x="779321" y="0"/>
                </a:lnTo>
                <a:lnTo>
                  <a:pt x="779321" y="156558"/>
                </a:lnTo>
                <a:lnTo>
                  <a:pt x="781304" y="156558"/>
                </a:lnTo>
                <a:lnTo>
                  <a:pt x="312700" y="928119"/>
                </a:lnTo>
                <a:close/>
              </a:path>
            </a:pathLst>
          </a:cu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0" name="Rectangle 589" descr="Data protection">
            <a:extLst>
              <a:ext uri="{FF2B5EF4-FFF2-40B4-BE49-F238E27FC236}">
                <a16:creationId xmlns:a16="http://schemas.microsoft.com/office/drawing/2014/main" id="{3FB3E3AD-EF3C-48DD-94ED-25F4FAAFD3C9}"/>
              </a:ext>
            </a:extLst>
          </p:cNvPr>
          <p:cNvSpPr/>
          <p:nvPr/>
        </p:nvSpPr>
        <p:spPr>
          <a:xfrm rot="10800000">
            <a:off x="8932113" y="2262571"/>
            <a:ext cx="641504" cy="770766"/>
          </a:xfrm>
          <a:prstGeom prst="rect">
            <a:avLst/>
          </a:pr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9" name="Rectangle 588" descr="Incident response">
            <a:extLst>
              <a:ext uri="{FF2B5EF4-FFF2-40B4-BE49-F238E27FC236}">
                <a16:creationId xmlns:a16="http://schemas.microsoft.com/office/drawing/2014/main" id="{87D4A682-5C09-4106-AA96-D2FE74805DCC}"/>
              </a:ext>
            </a:extLst>
          </p:cNvPr>
          <p:cNvSpPr/>
          <p:nvPr/>
        </p:nvSpPr>
        <p:spPr>
          <a:xfrm rot="10800000">
            <a:off x="9598743" y="2262574"/>
            <a:ext cx="695530" cy="770764"/>
          </a:xfrm>
          <a:prstGeom prst="rect">
            <a:avLst/>
          </a:pr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6" name="Rectangle 585" descr="Migration plan">
            <a:extLst>
              <a:ext uri="{FF2B5EF4-FFF2-40B4-BE49-F238E27FC236}">
                <a16:creationId xmlns:a16="http://schemas.microsoft.com/office/drawing/2014/main" id="{2F9A6AFB-E004-4D4C-AA16-2957A8F4EFF1}"/>
              </a:ext>
            </a:extLst>
          </p:cNvPr>
          <p:cNvSpPr/>
          <p:nvPr/>
        </p:nvSpPr>
        <p:spPr>
          <a:xfrm rot="10800000">
            <a:off x="3470564" y="2507715"/>
            <a:ext cx="779318" cy="2795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79" name="Freeform: Shape 678" descr="High level business  strategy">
            <a:extLst>
              <a:ext uri="{FF2B5EF4-FFF2-40B4-BE49-F238E27FC236}">
                <a16:creationId xmlns:a16="http://schemas.microsoft.com/office/drawing/2014/main" id="{247B31A2-4E42-46E9-A275-83FA998BBE37}"/>
              </a:ext>
            </a:extLst>
          </p:cNvPr>
          <p:cNvSpPr/>
          <p:nvPr/>
        </p:nvSpPr>
        <p:spPr>
          <a:xfrm rot="10800000">
            <a:off x="-1" y="3279601"/>
            <a:ext cx="773684" cy="779319"/>
          </a:xfrm>
          <a:custGeom>
            <a:avLst/>
            <a:gdLst>
              <a:gd name="connsiteX0" fmla="*/ 768485 w 773684"/>
              <a:gd name="connsiteY0" fmla="*/ 779319 h 779319"/>
              <a:gd name="connsiteX1" fmla="*/ 0 w 773684"/>
              <a:gd name="connsiteY1" fmla="*/ 779319 h 779319"/>
              <a:gd name="connsiteX2" fmla="*/ 0 w 773684"/>
              <a:gd name="connsiteY2" fmla="*/ 0 h 779319"/>
              <a:gd name="connsiteX3" fmla="*/ 768485 w 773684"/>
              <a:gd name="connsiteY3" fmla="*/ 0 h 779319"/>
              <a:gd name="connsiteX4" fmla="*/ 773684 w 773684"/>
              <a:gd name="connsiteY4" fmla="*/ 786 h 779319"/>
              <a:gd name="connsiteX5" fmla="*/ 773684 w 773684"/>
              <a:gd name="connsiteY5" fmla="*/ 778533 h 77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684" h="779319">
                <a:moveTo>
                  <a:pt x="768485" y="779319"/>
                </a:moveTo>
                <a:lnTo>
                  <a:pt x="0" y="779319"/>
                </a:lnTo>
                <a:lnTo>
                  <a:pt x="0" y="0"/>
                </a:lnTo>
                <a:lnTo>
                  <a:pt x="768485" y="0"/>
                </a:lnTo>
                <a:lnTo>
                  <a:pt x="773684" y="786"/>
                </a:lnTo>
                <a:lnTo>
                  <a:pt x="773684" y="7785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4" name="Rectangle 583" descr="key stakeholder sign off">
            <a:extLst>
              <a:ext uri="{FF2B5EF4-FFF2-40B4-BE49-F238E27FC236}">
                <a16:creationId xmlns:a16="http://schemas.microsoft.com/office/drawing/2014/main" id="{0A0707BB-A322-4B6B-A51C-BA32BC32B9BF}"/>
              </a:ext>
            </a:extLst>
          </p:cNvPr>
          <p:cNvSpPr/>
          <p:nvPr/>
        </p:nvSpPr>
        <p:spPr>
          <a:xfrm rot="10800000">
            <a:off x="800758" y="3281597"/>
            <a:ext cx="676560" cy="777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3" name="Freeform: Shape 582" descr="Migration funding committed">
            <a:extLst>
              <a:ext uri="{FF2B5EF4-FFF2-40B4-BE49-F238E27FC236}">
                <a16:creationId xmlns:a16="http://schemas.microsoft.com/office/drawing/2014/main" id="{C0AF7ED4-3A22-4C5D-8827-F5A4BAE61426}"/>
              </a:ext>
            </a:extLst>
          </p:cNvPr>
          <p:cNvSpPr/>
          <p:nvPr/>
        </p:nvSpPr>
        <p:spPr>
          <a:xfrm rot="10800000">
            <a:off x="1503680" y="3282659"/>
            <a:ext cx="754832" cy="769563"/>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43553 w 750643"/>
              <a:gd name="connsiteY0" fmla="*/ 768169 h 768169"/>
              <a:gd name="connsiteX1" fmla="*/ 394329 w 750643"/>
              <a:gd name="connsiteY1" fmla="*/ 768169 h 768169"/>
              <a:gd name="connsiteX2" fmla="*/ 4669 w 750643"/>
              <a:gd name="connsiteY2" fmla="*/ 378509 h 768169"/>
              <a:gd name="connsiteX3" fmla="*/ 4671 w 750643"/>
              <a:gd name="connsiteY3" fmla="*/ 378509 h 768169"/>
              <a:gd name="connsiteX4" fmla="*/ 8353 w 750643"/>
              <a:gd name="connsiteY4" fmla="*/ 360266 h 768169"/>
              <a:gd name="connsiteX5" fmla="*/ 4671 w 750643"/>
              <a:gd name="connsiteY5" fmla="*/ 342026 h 768169"/>
              <a:gd name="connsiteX6" fmla="*/ 0 w 750643"/>
              <a:gd name="connsiteY6" fmla="*/ 305 h 768169"/>
              <a:gd name="connsiteX7" fmla="*/ 750643 w 750643"/>
              <a:gd name="connsiteY7" fmla="*/ 0 h 768169"/>
              <a:gd name="connsiteX8" fmla="*/ 743553 w 750643"/>
              <a:gd name="connsiteY8" fmla="*/ 768169 h 76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0643" h="768169">
                <a:moveTo>
                  <a:pt x="743553" y="768169"/>
                </a:moveTo>
                <a:lnTo>
                  <a:pt x="394329" y="768169"/>
                </a:lnTo>
                <a:cubicBezTo>
                  <a:pt x="179126" y="768169"/>
                  <a:pt x="4669" y="593712"/>
                  <a:pt x="4669" y="378509"/>
                </a:cubicBezTo>
                <a:lnTo>
                  <a:pt x="4671" y="378509"/>
                </a:lnTo>
                <a:lnTo>
                  <a:pt x="8353" y="360266"/>
                </a:lnTo>
                <a:lnTo>
                  <a:pt x="4671" y="342026"/>
                </a:lnTo>
                <a:lnTo>
                  <a:pt x="0" y="305"/>
                </a:lnTo>
                <a:lnTo>
                  <a:pt x="750643" y="0"/>
                </a:lnTo>
                <a:cubicBezTo>
                  <a:pt x="748280" y="256056"/>
                  <a:pt x="745916" y="512113"/>
                  <a:pt x="743553" y="76816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73" name="Freeform: Shape 572" descr="Cloud Strategy&#10;Team In &#10;Place (CDE)&#10;">
            <a:extLst>
              <a:ext uri="{FF2B5EF4-FFF2-40B4-BE49-F238E27FC236}">
                <a16:creationId xmlns:a16="http://schemas.microsoft.com/office/drawing/2014/main" id="{C211596B-4E4A-4BDB-B7F0-B97773EEDB10}"/>
              </a:ext>
            </a:extLst>
          </p:cNvPr>
          <p:cNvSpPr/>
          <p:nvPr/>
        </p:nvSpPr>
        <p:spPr>
          <a:xfrm rot="10800000">
            <a:off x="5556410" y="2672991"/>
            <a:ext cx="779320" cy="607568"/>
          </a:xfrm>
          <a:custGeom>
            <a:avLst/>
            <a:gdLst>
              <a:gd name="connsiteX0" fmla="*/ 779319 w 779320"/>
              <a:gd name="connsiteY0" fmla="*/ 607568 h 607568"/>
              <a:gd name="connsiteX1" fmla="*/ 0 w 779320"/>
              <a:gd name="connsiteY1" fmla="*/ 607568 h 607568"/>
              <a:gd name="connsiteX2" fmla="*/ 0 w 779320"/>
              <a:gd name="connsiteY2" fmla="*/ 0 h 607568"/>
              <a:gd name="connsiteX3" fmla="*/ 779320 w 779320"/>
              <a:gd name="connsiteY3" fmla="*/ 0 h 607568"/>
              <a:gd name="connsiteX4" fmla="*/ 779319 w 779320"/>
              <a:gd name="connsiteY4" fmla="*/ 607568 h 60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607568">
                <a:moveTo>
                  <a:pt x="779319" y="607568"/>
                </a:moveTo>
                <a:lnTo>
                  <a:pt x="0" y="607568"/>
                </a:lnTo>
                <a:lnTo>
                  <a:pt x="0" y="0"/>
                </a:lnTo>
                <a:lnTo>
                  <a:pt x="779320" y="0"/>
                </a:lnTo>
                <a:lnTo>
                  <a:pt x="779319" y="607568"/>
                </a:lnTo>
                <a:close/>
              </a:path>
            </a:pathLst>
          </a:cu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72" name="Rectangle 571" descr="OS patching">
            <a:extLst>
              <a:ext uri="{FF2B5EF4-FFF2-40B4-BE49-F238E27FC236}">
                <a16:creationId xmlns:a16="http://schemas.microsoft.com/office/drawing/2014/main" id="{4290B0FD-2169-4415-8CA8-0B084FB3AC64}"/>
              </a:ext>
            </a:extLst>
          </p:cNvPr>
          <p:cNvSpPr/>
          <p:nvPr/>
        </p:nvSpPr>
        <p:spPr>
          <a:xfrm rot="10800000">
            <a:off x="10318172" y="3085759"/>
            <a:ext cx="779318" cy="2772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68" name="Freeform: Shape 567" descr="Technical resources">
            <a:extLst>
              <a:ext uri="{FF2B5EF4-FFF2-40B4-BE49-F238E27FC236}">
                <a16:creationId xmlns:a16="http://schemas.microsoft.com/office/drawing/2014/main" id="{75D87F70-A611-421D-8719-1F2598BA6665}"/>
              </a:ext>
            </a:extLst>
          </p:cNvPr>
          <p:cNvSpPr/>
          <p:nvPr/>
        </p:nvSpPr>
        <p:spPr>
          <a:xfrm rot="10800000">
            <a:off x="3470564" y="2810585"/>
            <a:ext cx="779319" cy="328168"/>
          </a:xfrm>
          <a:custGeom>
            <a:avLst/>
            <a:gdLst>
              <a:gd name="connsiteX0" fmla="*/ 779318 w 779319"/>
              <a:gd name="connsiteY0" fmla="*/ 328168 h 328168"/>
              <a:gd name="connsiteX1" fmla="*/ 0 w 779319"/>
              <a:gd name="connsiteY1" fmla="*/ 328168 h 328168"/>
              <a:gd name="connsiteX2" fmla="*/ 0 w 779319"/>
              <a:gd name="connsiteY2" fmla="*/ 0 h 328168"/>
              <a:gd name="connsiteX3" fmla="*/ 779319 w 779319"/>
              <a:gd name="connsiteY3" fmla="*/ 0 h 328168"/>
              <a:gd name="connsiteX4" fmla="*/ 779318 w 779319"/>
              <a:gd name="connsiteY4" fmla="*/ 328168 h 3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28168">
                <a:moveTo>
                  <a:pt x="779318" y="328168"/>
                </a:moveTo>
                <a:lnTo>
                  <a:pt x="0" y="328168"/>
                </a:lnTo>
                <a:lnTo>
                  <a:pt x="0" y="0"/>
                </a:lnTo>
                <a:lnTo>
                  <a:pt x="779319" y="0"/>
                </a:lnTo>
                <a:lnTo>
                  <a:pt x="779318" y="32816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67" name="Rectangle 566" descr="logging and monitoring">
            <a:extLst>
              <a:ext uri="{FF2B5EF4-FFF2-40B4-BE49-F238E27FC236}">
                <a16:creationId xmlns:a16="http://schemas.microsoft.com/office/drawing/2014/main" id="{07299D97-9DE0-4379-BC79-1D0E14FF8709}"/>
              </a:ext>
            </a:extLst>
          </p:cNvPr>
          <p:cNvSpPr/>
          <p:nvPr/>
        </p:nvSpPr>
        <p:spPr>
          <a:xfrm rot="10800000">
            <a:off x="8131894" y="3061890"/>
            <a:ext cx="779320" cy="391387"/>
          </a:xfrm>
          <a:prstGeom prst="rect">
            <a:avLst/>
          </a:pr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61" name="Rectangle 560" descr="customer/partner contract">
            <a:extLst>
              <a:ext uri="{FF2B5EF4-FFF2-40B4-BE49-F238E27FC236}">
                <a16:creationId xmlns:a16="http://schemas.microsoft.com/office/drawing/2014/main" id="{B4D0732C-DAED-49C1-B17D-3AEA4939923E}"/>
              </a:ext>
            </a:extLst>
          </p:cNvPr>
          <p:cNvSpPr/>
          <p:nvPr/>
        </p:nvSpPr>
        <p:spPr>
          <a:xfrm rot="10800000">
            <a:off x="1493567" y="4083977"/>
            <a:ext cx="767461" cy="627465"/>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55" name="Freeform: Shape 554">
            <a:extLst>
              <a:ext uri="{FF2B5EF4-FFF2-40B4-BE49-F238E27FC236}">
                <a16:creationId xmlns:a16="http://schemas.microsoft.com/office/drawing/2014/main" id="{0DBFCA36-F14C-4D72-BB8A-C6C916B1A403}"/>
              </a:ext>
              <a:ext uri="{C183D7F6-B498-43B3-948B-1728B52AA6E4}">
                <adec:decorative xmlns:adec="http://schemas.microsoft.com/office/drawing/2017/decorative" val="1"/>
              </a:ext>
            </a:extLst>
          </p:cNvPr>
          <p:cNvSpPr/>
          <p:nvPr/>
        </p:nvSpPr>
        <p:spPr>
          <a:xfrm rot="10800000">
            <a:off x="3470564" y="3166185"/>
            <a:ext cx="779319" cy="475488"/>
          </a:xfrm>
          <a:custGeom>
            <a:avLst/>
            <a:gdLst>
              <a:gd name="connsiteX0" fmla="*/ 779319 w 779319"/>
              <a:gd name="connsiteY0" fmla="*/ 475488 h 475488"/>
              <a:gd name="connsiteX1" fmla="*/ 0 w 779319"/>
              <a:gd name="connsiteY1" fmla="*/ 475488 h 475488"/>
              <a:gd name="connsiteX2" fmla="*/ 0 w 779319"/>
              <a:gd name="connsiteY2" fmla="*/ 0 h 475488"/>
              <a:gd name="connsiteX3" fmla="*/ 779319 w 779319"/>
              <a:gd name="connsiteY3" fmla="*/ 0 h 475488"/>
              <a:gd name="connsiteX4" fmla="*/ 779319 w 779319"/>
              <a:gd name="connsiteY4" fmla="*/ 475488 h 475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475488">
                <a:moveTo>
                  <a:pt x="779319" y="475488"/>
                </a:moveTo>
                <a:lnTo>
                  <a:pt x="0" y="475488"/>
                </a:lnTo>
                <a:lnTo>
                  <a:pt x="0" y="0"/>
                </a:lnTo>
                <a:lnTo>
                  <a:pt x="779319" y="0"/>
                </a:lnTo>
                <a:lnTo>
                  <a:pt x="779319" y="475488"/>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51" name="Freeform: Shape 550" descr="subscription design">
            <a:extLst>
              <a:ext uri="{FF2B5EF4-FFF2-40B4-BE49-F238E27FC236}">
                <a16:creationId xmlns:a16="http://schemas.microsoft.com/office/drawing/2014/main" id="{8D6367B9-A35E-4EC3-8CD7-D1F0EAB60C93}"/>
              </a:ext>
            </a:extLst>
          </p:cNvPr>
          <p:cNvSpPr/>
          <p:nvPr/>
        </p:nvSpPr>
        <p:spPr>
          <a:xfrm rot="10800000">
            <a:off x="5556410" y="3307991"/>
            <a:ext cx="779320" cy="368808"/>
          </a:xfrm>
          <a:custGeom>
            <a:avLst/>
            <a:gdLst>
              <a:gd name="connsiteX0" fmla="*/ 779320 w 779320"/>
              <a:gd name="connsiteY0" fmla="*/ 368808 h 368808"/>
              <a:gd name="connsiteX1" fmla="*/ 0 w 779320"/>
              <a:gd name="connsiteY1" fmla="*/ 368808 h 368808"/>
              <a:gd name="connsiteX2" fmla="*/ 0 w 779320"/>
              <a:gd name="connsiteY2" fmla="*/ 0 h 368808"/>
              <a:gd name="connsiteX3" fmla="*/ 779320 w 779320"/>
              <a:gd name="connsiteY3" fmla="*/ 0 h 368808"/>
              <a:gd name="connsiteX4" fmla="*/ 779320 w 779320"/>
              <a:gd name="connsiteY4" fmla="*/ 368808 h 368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68808">
                <a:moveTo>
                  <a:pt x="779320" y="368808"/>
                </a:moveTo>
                <a:lnTo>
                  <a:pt x="0" y="368808"/>
                </a:lnTo>
                <a:lnTo>
                  <a:pt x="0" y="0"/>
                </a:lnTo>
                <a:lnTo>
                  <a:pt x="779320" y="0"/>
                </a:lnTo>
                <a:lnTo>
                  <a:pt x="779320" y="36880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8" name="Freeform: Shape 547">
            <a:extLst>
              <a:ext uri="{FF2B5EF4-FFF2-40B4-BE49-F238E27FC236}">
                <a16:creationId xmlns:a16="http://schemas.microsoft.com/office/drawing/2014/main" id="{0581F1A7-92AA-4C1E-A1D5-600CBE73F67D}"/>
              </a:ext>
              <a:ext uri="{C183D7F6-B498-43B3-948B-1728B52AA6E4}">
                <adec:decorative xmlns:adec="http://schemas.microsoft.com/office/drawing/2017/decorative" val="1"/>
              </a:ext>
            </a:extLst>
          </p:cNvPr>
          <p:cNvSpPr/>
          <p:nvPr/>
        </p:nvSpPr>
        <p:spPr>
          <a:xfrm rot="10800000">
            <a:off x="10318172" y="3390435"/>
            <a:ext cx="779319" cy="239268"/>
          </a:xfrm>
          <a:custGeom>
            <a:avLst/>
            <a:gdLst>
              <a:gd name="connsiteX0" fmla="*/ 779318 w 779319"/>
              <a:gd name="connsiteY0" fmla="*/ 239268 h 239268"/>
              <a:gd name="connsiteX1" fmla="*/ 0 w 779319"/>
              <a:gd name="connsiteY1" fmla="*/ 239268 h 239268"/>
              <a:gd name="connsiteX2" fmla="*/ 0 w 779319"/>
              <a:gd name="connsiteY2" fmla="*/ 0 h 239268"/>
              <a:gd name="connsiteX3" fmla="*/ 779319 w 779319"/>
              <a:gd name="connsiteY3" fmla="*/ 0 h 239268"/>
              <a:gd name="connsiteX4" fmla="*/ 779318 w 779319"/>
              <a:gd name="connsiteY4" fmla="*/ 239268 h 239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239268">
                <a:moveTo>
                  <a:pt x="779318" y="239268"/>
                </a:moveTo>
                <a:lnTo>
                  <a:pt x="0" y="239268"/>
                </a:lnTo>
                <a:lnTo>
                  <a:pt x="0" y="0"/>
                </a:lnTo>
                <a:lnTo>
                  <a:pt x="779319" y="0"/>
                </a:lnTo>
                <a:lnTo>
                  <a:pt x="779318" y="23926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5" name="Freeform: Shape 544" descr="Identity and access management">
            <a:extLst>
              <a:ext uri="{FF2B5EF4-FFF2-40B4-BE49-F238E27FC236}">
                <a16:creationId xmlns:a16="http://schemas.microsoft.com/office/drawing/2014/main" id="{F06DE7AC-EB5A-4B22-8D92-7845F0AF06B6}"/>
              </a:ext>
            </a:extLst>
          </p:cNvPr>
          <p:cNvSpPr/>
          <p:nvPr/>
        </p:nvSpPr>
        <p:spPr>
          <a:xfrm rot="10800000">
            <a:off x="8131894" y="3480711"/>
            <a:ext cx="779320" cy="455168"/>
          </a:xfrm>
          <a:custGeom>
            <a:avLst/>
            <a:gdLst>
              <a:gd name="connsiteX0" fmla="*/ 779320 w 779320"/>
              <a:gd name="connsiteY0" fmla="*/ 455168 h 455168"/>
              <a:gd name="connsiteX1" fmla="*/ 0 w 779320"/>
              <a:gd name="connsiteY1" fmla="*/ 455168 h 455168"/>
              <a:gd name="connsiteX2" fmla="*/ 0 w 779320"/>
              <a:gd name="connsiteY2" fmla="*/ 0 h 455168"/>
              <a:gd name="connsiteX3" fmla="*/ 779320 w 779320"/>
              <a:gd name="connsiteY3" fmla="*/ 0 h 455168"/>
              <a:gd name="connsiteX4" fmla="*/ 779320 w 779320"/>
              <a:gd name="connsiteY4" fmla="*/ 455168 h 455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455168">
                <a:moveTo>
                  <a:pt x="779320" y="455168"/>
                </a:moveTo>
                <a:lnTo>
                  <a:pt x="0" y="455168"/>
                </a:lnTo>
                <a:lnTo>
                  <a:pt x="0" y="0"/>
                </a:lnTo>
                <a:lnTo>
                  <a:pt x="779320" y="0"/>
                </a:lnTo>
                <a:lnTo>
                  <a:pt x="779320" y="455168"/>
                </a:ln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0" name="Freeform: Shape 539" descr="backup">
            <a:extLst>
              <a:ext uri="{FF2B5EF4-FFF2-40B4-BE49-F238E27FC236}">
                <a16:creationId xmlns:a16="http://schemas.microsoft.com/office/drawing/2014/main" id="{40DDFE68-ED67-42F2-82BE-406A2DE61821}"/>
              </a:ext>
            </a:extLst>
          </p:cNvPr>
          <p:cNvSpPr/>
          <p:nvPr/>
        </p:nvSpPr>
        <p:spPr>
          <a:xfrm rot="10800000">
            <a:off x="10318172" y="3657135"/>
            <a:ext cx="779319" cy="284988"/>
          </a:xfrm>
          <a:custGeom>
            <a:avLst/>
            <a:gdLst>
              <a:gd name="connsiteX0" fmla="*/ 779319 w 779319"/>
              <a:gd name="connsiteY0" fmla="*/ 284988 h 284988"/>
              <a:gd name="connsiteX1" fmla="*/ 0 w 779319"/>
              <a:gd name="connsiteY1" fmla="*/ 284988 h 284988"/>
              <a:gd name="connsiteX2" fmla="*/ 0 w 779319"/>
              <a:gd name="connsiteY2" fmla="*/ 0 h 284988"/>
              <a:gd name="connsiteX3" fmla="*/ 779319 w 779319"/>
              <a:gd name="connsiteY3" fmla="*/ 0 h 284988"/>
              <a:gd name="connsiteX4" fmla="*/ 779319 w 779319"/>
              <a:gd name="connsiteY4" fmla="*/ 284988 h 28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284988">
                <a:moveTo>
                  <a:pt x="779319" y="284988"/>
                </a:moveTo>
                <a:lnTo>
                  <a:pt x="0" y="284988"/>
                </a:lnTo>
                <a:lnTo>
                  <a:pt x="0" y="0"/>
                </a:lnTo>
                <a:lnTo>
                  <a:pt x="779319" y="0"/>
                </a:lnTo>
                <a:lnTo>
                  <a:pt x="779319" y="28498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DD4D1502-405E-4251-8B68-2569D0F44A0F}"/>
              </a:ext>
              <a:ext uri="{C183D7F6-B498-43B3-948B-1728B52AA6E4}">
                <adec:decorative xmlns:adec="http://schemas.microsoft.com/office/drawing/2017/decorative" val="1"/>
              </a:ext>
            </a:extLst>
          </p:cNvPr>
          <p:cNvSpPr/>
          <p:nvPr/>
        </p:nvSpPr>
        <p:spPr>
          <a:xfrm rot="10800000">
            <a:off x="3470564" y="4563615"/>
            <a:ext cx="779319" cy="622808"/>
          </a:xfrm>
          <a:custGeom>
            <a:avLst/>
            <a:gdLst>
              <a:gd name="connsiteX0" fmla="*/ 779319 w 779319"/>
              <a:gd name="connsiteY0" fmla="*/ 622808 h 622808"/>
              <a:gd name="connsiteX1" fmla="*/ 0 w 779319"/>
              <a:gd name="connsiteY1" fmla="*/ 622808 h 622808"/>
              <a:gd name="connsiteX2" fmla="*/ 0 w 779319"/>
              <a:gd name="connsiteY2" fmla="*/ 0 h 622808"/>
              <a:gd name="connsiteX3" fmla="*/ 779319 w 779319"/>
              <a:gd name="connsiteY3" fmla="*/ 0 h 622808"/>
              <a:gd name="connsiteX4" fmla="*/ 779319 w 779319"/>
              <a:gd name="connsiteY4" fmla="*/ 622808 h 622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622808">
                <a:moveTo>
                  <a:pt x="779319" y="622808"/>
                </a:moveTo>
                <a:lnTo>
                  <a:pt x="0" y="622808"/>
                </a:lnTo>
                <a:lnTo>
                  <a:pt x="0" y="0"/>
                </a:lnTo>
                <a:lnTo>
                  <a:pt x="779319" y="0"/>
                </a:lnTo>
                <a:lnTo>
                  <a:pt x="779319" y="622808"/>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36" name="Freeform: Shape 535" descr="Governance">
            <a:extLst>
              <a:ext uri="{FF2B5EF4-FFF2-40B4-BE49-F238E27FC236}">
                <a16:creationId xmlns:a16="http://schemas.microsoft.com/office/drawing/2014/main" id="{B23D13EF-4DDD-455B-AB74-BAC86D9AC7E2}"/>
              </a:ext>
            </a:extLst>
          </p:cNvPr>
          <p:cNvSpPr/>
          <p:nvPr/>
        </p:nvSpPr>
        <p:spPr>
          <a:xfrm rot="10800000">
            <a:off x="5556410" y="3704231"/>
            <a:ext cx="779320" cy="267208"/>
          </a:xfrm>
          <a:custGeom>
            <a:avLst/>
            <a:gdLst>
              <a:gd name="connsiteX0" fmla="*/ 779320 w 779320"/>
              <a:gd name="connsiteY0" fmla="*/ 267208 h 267208"/>
              <a:gd name="connsiteX1" fmla="*/ 0 w 779320"/>
              <a:gd name="connsiteY1" fmla="*/ 267208 h 267208"/>
              <a:gd name="connsiteX2" fmla="*/ 0 w 779320"/>
              <a:gd name="connsiteY2" fmla="*/ 0 h 267208"/>
              <a:gd name="connsiteX3" fmla="*/ 779320 w 779320"/>
              <a:gd name="connsiteY3" fmla="*/ 0 h 267208"/>
              <a:gd name="connsiteX4" fmla="*/ 779320 w 779320"/>
              <a:gd name="connsiteY4" fmla="*/ 267208 h 26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267208">
                <a:moveTo>
                  <a:pt x="779320" y="267208"/>
                </a:moveTo>
                <a:lnTo>
                  <a:pt x="0" y="267208"/>
                </a:lnTo>
                <a:lnTo>
                  <a:pt x="0" y="0"/>
                </a:lnTo>
                <a:lnTo>
                  <a:pt x="779320" y="0"/>
                </a:lnTo>
                <a:lnTo>
                  <a:pt x="779320" y="26720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33" name="Freeform: Shape 532" descr="Migration partner">
            <a:extLst>
              <a:ext uri="{FF2B5EF4-FFF2-40B4-BE49-F238E27FC236}">
                <a16:creationId xmlns:a16="http://schemas.microsoft.com/office/drawing/2014/main" id="{0F878D6A-2B66-42EE-9C04-F3973416F970}"/>
              </a:ext>
            </a:extLst>
          </p:cNvPr>
          <p:cNvSpPr/>
          <p:nvPr/>
        </p:nvSpPr>
        <p:spPr>
          <a:xfrm rot="10800000">
            <a:off x="1493568" y="4738875"/>
            <a:ext cx="767462" cy="447549"/>
          </a:xfrm>
          <a:custGeom>
            <a:avLst/>
            <a:gdLst>
              <a:gd name="connsiteX0" fmla="*/ 779319 w 779320"/>
              <a:gd name="connsiteY0" fmla="*/ 447548 h 447548"/>
              <a:gd name="connsiteX1" fmla="*/ 0 w 779320"/>
              <a:gd name="connsiteY1" fmla="*/ 447548 h 447548"/>
              <a:gd name="connsiteX2" fmla="*/ 0 w 779320"/>
              <a:gd name="connsiteY2" fmla="*/ 0 h 447548"/>
              <a:gd name="connsiteX3" fmla="*/ 779320 w 779320"/>
              <a:gd name="connsiteY3" fmla="*/ 0 h 447548"/>
              <a:gd name="connsiteX4" fmla="*/ 779319 w 779320"/>
              <a:gd name="connsiteY4" fmla="*/ 447548 h 44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447548">
                <a:moveTo>
                  <a:pt x="779319" y="447548"/>
                </a:moveTo>
                <a:lnTo>
                  <a:pt x="0" y="447548"/>
                </a:lnTo>
                <a:lnTo>
                  <a:pt x="0" y="0"/>
                </a:lnTo>
                <a:lnTo>
                  <a:pt x="779320" y="0"/>
                </a:lnTo>
                <a:lnTo>
                  <a:pt x="779319" y="447548"/>
                </a:lnTo>
                <a:close/>
              </a:path>
            </a:pathLst>
          </a:cu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28" name="Freeform: Shape 527" descr="Disaster Recovery">
            <a:extLst>
              <a:ext uri="{FF2B5EF4-FFF2-40B4-BE49-F238E27FC236}">
                <a16:creationId xmlns:a16="http://schemas.microsoft.com/office/drawing/2014/main" id="{2B246904-370F-4E7E-8E89-05CC1970E86E}"/>
              </a:ext>
            </a:extLst>
          </p:cNvPr>
          <p:cNvSpPr/>
          <p:nvPr/>
        </p:nvSpPr>
        <p:spPr>
          <a:xfrm rot="10800000">
            <a:off x="10318168" y="3979794"/>
            <a:ext cx="779319" cy="362828"/>
          </a:xfrm>
          <a:custGeom>
            <a:avLst/>
            <a:gdLst>
              <a:gd name="connsiteX0" fmla="*/ 779319 w 779319"/>
              <a:gd name="connsiteY0" fmla="*/ 384048 h 384048"/>
              <a:gd name="connsiteX1" fmla="*/ 0 w 779319"/>
              <a:gd name="connsiteY1" fmla="*/ 384048 h 384048"/>
              <a:gd name="connsiteX2" fmla="*/ 0 w 779319"/>
              <a:gd name="connsiteY2" fmla="*/ 0 h 384048"/>
              <a:gd name="connsiteX3" fmla="*/ 779319 w 779319"/>
              <a:gd name="connsiteY3" fmla="*/ 0 h 384048"/>
              <a:gd name="connsiteX4" fmla="*/ 779319 w 779319"/>
              <a:gd name="connsiteY4" fmla="*/ 384048 h 384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84048">
                <a:moveTo>
                  <a:pt x="779319" y="384048"/>
                </a:moveTo>
                <a:lnTo>
                  <a:pt x="0" y="384048"/>
                </a:lnTo>
                <a:lnTo>
                  <a:pt x="0" y="0"/>
                </a:lnTo>
                <a:lnTo>
                  <a:pt x="779319" y="0"/>
                </a:lnTo>
                <a:lnTo>
                  <a:pt x="779319" y="38404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27" name="Freeform: Shape 526" descr="Security RACI">
            <a:extLst>
              <a:ext uri="{FF2B5EF4-FFF2-40B4-BE49-F238E27FC236}">
                <a16:creationId xmlns:a16="http://schemas.microsoft.com/office/drawing/2014/main" id="{632C5991-EC87-46B8-BE22-75F66AF890A8}"/>
              </a:ext>
            </a:extLst>
          </p:cNvPr>
          <p:cNvSpPr/>
          <p:nvPr/>
        </p:nvSpPr>
        <p:spPr>
          <a:xfrm rot="10800000">
            <a:off x="8131894" y="3963311"/>
            <a:ext cx="779320" cy="384048"/>
          </a:xfrm>
          <a:custGeom>
            <a:avLst/>
            <a:gdLst>
              <a:gd name="connsiteX0" fmla="*/ 779320 w 779320"/>
              <a:gd name="connsiteY0" fmla="*/ 384048 h 384048"/>
              <a:gd name="connsiteX1" fmla="*/ 0 w 779320"/>
              <a:gd name="connsiteY1" fmla="*/ 384048 h 384048"/>
              <a:gd name="connsiteX2" fmla="*/ 0 w 779320"/>
              <a:gd name="connsiteY2" fmla="*/ 0 h 384048"/>
              <a:gd name="connsiteX3" fmla="*/ 779320 w 779320"/>
              <a:gd name="connsiteY3" fmla="*/ 0 h 384048"/>
              <a:gd name="connsiteX4" fmla="*/ 779320 w 779320"/>
              <a:gd name="connsiteY4" fmla="*/ 384048 h 384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84048">
                <a:moveTo>
                  <a:pt x="779320" y="384048"/>
                </a:moveTo>
                <a:lnTo>
                  <a:pt x="0" y="384048"/>
                </a:lnTo>
                <a:lnTo>
                  <a:pt x="0" y="0"/>
                </a:lnTo>
                <a:lnTo>
                  <a:pt x="779320" y="0"/>
                </a:lnTo>
                <a:lnTo>
                  <a:pt x="779320" y="384048"/>
                </a:ln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24" name="Freeform: Shape 523" descr="Networking">
            <a:extLst>
              <a:ext uri="{FF2B5EF4-FFF2-40B4-BE49-F238E27FC236}">
                <a16:creationId xmlns:a16="http://schemas.microsoft.com/office/drawing/2014/main" id="{7A693F51-D7B4-4D06-B065-2394DBF03D09}"/>
              </a:ext>
            </a:extLst>
          </p:cNvPr>
          <p:cNvSpPr/>
          <p:nvPr/>
        </p:nvSpPr>
        <p:spPr>
          <a:xfrm rot="10800000">
            <a:off x="5556410" y="4004010"/>
            <a:ext cx="779320" cy="304404"/>
          </a:xfrm>
          <a:custGeom>
            <a:avLst/>
            <a:gdLst>
              <a:gd name="connsiteX0" fmla="*/ 779320 w 779320"/>
              <a:gd name="connsiteY0" fmla="*/ 312928 h 312928"/>
              <a:gd name="connsiteX1" fmla="*/ 0 w 779320"/>
              <a:gd name="connsiteY1" fmla="*/ 312928 h 312928"/>
              <a:gd name="connsiteX2" fmla="*/ 0 w 779320"/>
              <a:gd name="connsiteY2" fmla="*/ 0 h 312928"/>
              <a:gd name="connsiteX3" fmla="*/ 779320 w 779320"/>
              <a:gd name="connsiteY3" fmla="*/ 0 h 312928"/>
              <a:gd name="connsiteX4" fmla="*/ 779320 w 779320"/>
              <a:gd name="connsiteY4" fmla="*/ 312928 h 312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12928">
                <a:moveTo>
                  <a:pt x="779320" y="312928"/>
                </a:moveTo>
                <a:lnTo>
                  <a:pt x="0" y="312928"/>
                </a:lnTo>
                <a:lnTo>
                  <a:pt x="0" y="0"/>
                </a:lnTo>
                <a:lnTo>
                  <a:pt x="779320" y="0"/>
                </a:lnTo>
                <a:lnTo>
                  <a:pt x="779320" y="31292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7" name="Rectangle 516" descr="Azure Operations partner">
            <a:extLst>
              <a:ext uri="{FF2B5EF4-FFF2-40B4-BE49-F238E27FC236}">
                <a16:creationId xmlns:a16="http://schemas.microsoft.com/office/drawing/2014/main" id="{2AE629F1-86D6-4806-B8C7-23ADDFBB7E37}"/>
              </a:ext>
            </a:extLst>
          </p:cNvPr>
          <p:cNvSpPr/>
          <p:nvPr/>
        </p:nvSpPr>
        <p:spPr>
          <a:xfrm rot="10800000">
            <a:off x="1493568" y="5219427"/>
            <a:ext cx="767462" cy="517265"/>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6" name="Rectangle 515">
            <a:extLst>
              <a:ext uri="{FF2B5EF4-FFF2-40B4-BE49-F238E27FC236}">
                <a16:creationId xmlns:a16="http://schemas.microsoft.com/office/drawing/2014/main" id="{1FFB39F2-5530-4052-9CB2-35F128075493}"/>
              </a:ext>
              <a:ext uri="{C183D7F6-B498-43B3-948B-1728B52AA6E4}">
                <adec:decorative xmlns:adec="http://schemas.microsoft.com/office/drawing/2017/decorative" val="1"/>
              </a:ext>
            </a:extLst>
          </p:cNvPr>
          <p:cNvSpPr/>
          <p:nvPr/>
        </p:nvSpPr>
        <p:spPr>
          <a:xfrm rot="10800000">
            <a:off x="3470561" y="5213853"/>
            <a:ext cx="779319" cy="52283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5" name="Freeform: Shape 514" descr="Identity">
            <a:extLst>
              <a:ext uri="{FF2B5EF4-FFF2-40B4-BE49-F238E27FC236}">
                <a16:creationId xmlns:a16="http://schemas.microsoft.com/office/drawing/2014/main" id="{9209AC72-B60E-41BD-9A03-020F06C05A57}"/>
              </a:ext>
            </a:extLst>
          </p:cNvPr>
          <p:cNvSpPr/>
          <p:nvPr/>
        </p:nvSpPr>
        <p:spPr>
          <a:xfrm rot="10800000">
            <a:off x="5556410" y="4331064"/>
            <a:ext cx="779320" cy="332291"/>
          </a:xfrm>
          <a:custGeom>
            <a:avLst/>
            <a:gdLst>
              <a:gd name="connsiteX0" fmla="*/ 779320 w 779320"/>
              <a:gd name="connsiteY0" fmla="*/ 307848 h 307848"/>
              <a:gd name="connsiteX1" fmla="*/ 0 w 779320"/>
              <a:gd name="connsiteY1" fmla="*/ 307848 h 307848"/>
              <a:gd name="connsiteX2" fmla="*/ 0 w 779320"/>
              <a:gd name="connsiteY2" fmla="*/ 0 h 307848"/>
              <a:gd name="connsiteX3" fmla="*/ 779320 w 779320"/>
              <a:gd name="connsiteY3" fmla="*/ 0 h 307848"/>
              <a:gd name="connsiteX4" fmla="*/ 779320 w 779320"/>
              <a:gd name="connsiteY4" fmla="*/ 307848 h 307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07848">
                <a:moveTo>
                  <a:pt x="779320" y="307848"/>
                </a:moveTo>
                <a:lnTo>
                  <a:pt x="0" y="307848"/>
                </a:lnTo>
                <a:lnTo>
                  <a:pt x="0" y="0"/>
                </a:lnTo>
                <a:lnTo>
                  <a:pt x="779320" y="0"/>
                </a:lnTo>
                <a:lnTo>
                  <a:pt x="779320" y="30784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0" name="Rectangle 509" descr="Configuration and change management&#10;">
            <a:extLst>
              <a:ext uri="{FF2B5EF4-FFF2-40B4-BE49-F238E27FC236}">
                <a16:creationId xmlns:a16="http://schemas.microsoft.com/office/drawing/2014/main" id="{BEFE1F84-07CD-4C62-A642-C6ACF3BD0653}"/>
              </a:ext>
            </a:extLst>
          </p:cNvPr>
          <p:cNvSpPr/>
          <p:nvPr/>
        </p:nvSpPr>
        <p:spPr>
          <a:xfrm rot="10800000">
            <a:off x="10318170" y="4371095"/>
            <a:ext cx="779320" cy="5031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09" name="Freeform: Shape 508">
            <a:extLst>
              <a:ext uri="{FF2B5EF4-FFF2-40B4-BE49-F238E27FC236}">
                <a16:creationId xmlns:a16="http://schemas.microsoft.com/office/drawing/2014/main" id="{3A049717-95C3-4619-AD09-DA0C807B6717}"/>
              </a:ext>
              <a:ext uri="{C183D7F6-B498-43B3-948B-1728B52AA6E4}">
                <adec:decorative xmlns:adec="http://schemas.microsoft.com/office/drawing/2017/decorative" val="1"/>
              </a:ext>
            </a:extLst>
          </p:cNvPr>
          <p:cNvSpPr/>
          <p:nvPr/>
        </p:nvSpPr>
        <p:spPr>
          <a:xfrm rot="10800000">
            <a:off x="8087070" y="4374791"/>
            <a:ext cx="824147" cy="1202956"/>
          </a:xfrm>
          <a:custGeom>
            <a:avLst/>
            <a:gdLst>
              <a:gd name="connsiteX0" fmla="*/ 779322 w 824147"/>
              <a:gd name="connsiteY0" fmla="*/ 1202956 h 1202956"/>
              <a:gd name="connsiteX1" fmla="*/ 2 w 824147"/>
              <a:gd name="connsiteY1" fmla="*/ 1202956 h 1202956"/>
              <a:gd name="connsiteX2" fmla="*/ 2 w 824147"/>
              <a:gd name="connsiteY2" fmla="*/ 319578 h 1202956"/>
              <a:gd name="connsiteX3" fmla="*/ 0 w 824147"/>
              <a:gd name="connsiteY3" fmla="*/ 319569 h 1202956"/>
              <a:gd name="connsiteX4" fmla="*/ 1 w 824147"/>
              <a:gd name="connsiteY4" fmla="*/ 319569 h 1202956"/>
              <a:gd name="connsiteX5" fmla="*/ 2 w 824147"/>
              <a:gd name="connsiteY5" fmla="*/ 319564 h 1202956"/>
              <a:gd name="connsiteX6" fmla="*/ 114131 w 824147"/>
              <a:gd name="connsiteY6" fmla="*/ 44033 h 1202956"/>
              <a:gd name="connsiteX7" fmla="*/ 167500 w 824147"/>
              <a:gd name="connsiteY7" fmla="*/ 0 h 1202956"/>
              <a:gd name="connsiteX8" fmla="*/ 824147 w 824147"/>
              <a:gd name="connsiteY8" fmla="*/ 709229 h 1202956"/>
              <a:gd name="connsiteX9" fmla="*/ 779322 w 824147"/>
              <a:gd name="connsiteY9" fmla="*/ 709229 h 1202956"/>
              <a:gd name="connsiteX10" fmla="*/ 779322 w 824147"/>
              <a:gd name="connsiteY10" fmla="*/ 1202956 h 120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4147" h="1202956">
                <a:moveTo>
                  <a:pt x="779322" y="1202956"/>
                </a:moveTo>
                <a:lnTo>
                  <a:pt x="2" y="1202956"/>
                </a:lnTo>
                <a:lnTo>
                  <a:pt x="2" y="319578"/>
                </a:lnTo>
                <a:lnTo>
                  <a:pt x="0" y="319569"/>
                </a:lnTo>
                <a:lnTo>
                  <a:pt x="1" y="319569"/>
                </a:lnTo>
                <a:lnTo>
                  <a:pt x="2" y="319564"/>
                </a:lnTo>
                <a:cubicBezTo>
                  <a:pt x="2" y="211963"/>
                  <a:pt x="43616" y="114548"/>
                  <a:pt x="114131" y="44033"/>
                </a:cubicBezTo>
                <a:lnTo>
                  <a:pt x="167500" y="0"/>
                </a:lnTo>
                <a:lnTo>
                  <a:pt x="824147" y="709229"/>
                </a:lnTo>
                <a:lnTo>
                  <a:pt x="779322" y="709229"/>
                </a:lnTo>
                <a:lnTo>
                  <a:pt x="779322" y="1202956"/>
                </a:ln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7" name="Rectangle 486" descr="Scan">
            <a:extLst>
              <a:ext uri="{FF2B5EF4-FFF2-40B4-BE49-F238E27FC236}">
                <a16:creationId xmlns:a16="http://schemas.microsoft.com/office/drawing/2014/main" id="{0C072E15-2C74-420D-BD1B-8CB1A1095A19}"/>
              </a:ext>
            </a:extLst>
          </p:cNvPr>
          <p:cNvSpPr/>
          <p:nvPr/>
        </p:nvSpPr>
        <p:spPr>
          <a:xfrm rot="10800000">
            <a:off x="2286867" y="5776994"/>
            <a:ext cx="387865" cy="76535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6" name="Rectangle 485" descr="Assessment">
            <a:extLst>
              <a:ext uri="{FF2B5EF4-FFF2-40B4-BE49-F238E27FC236}">
                <a16:creationId xmlns:a16="http://schemas.microsoft.com/office/drawing/2014/main" id="{19CBAE34-9DE4-43F3-99D6-ADDE8274EF5A}"/>
              </a:ext>
            </a:extLst>
          </p:cNvPr>
          <p:cNvSpPr/>
          <p:nvPr/>
        </p:nvSpPr>
        <p:spPr>
          <a:xfrm rot="10800000">
            <a:off x="2702163" y="5776996"/>
            <a:ext cx="735000" cy="76535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5" name="Rectangle 484" descr="e2e test">
            <a:extLst>
              <a:ext uri="{FF2B5EF4-FFF2-40B4-BE49-F238E27FC236}">
                <a16:creationId xmlns:a16="http://schemas.microsoft.com/office/drawing/2014/main" id="{468FE06C-41E8-47A3-98FC-0ACA5DB98BBF}"/>
              </a:ext>
            </a:extLst>
          </p:cNvPr>
          <p:cNvSpPr/>
          <p:nvPr/>
        </p:nvSpPr>
        <p:spPr>
          <a:xfrm rot="10800000">
            <a:off x="6366505" y="4868510"/>
            <a:ext cx="482868" cy="77932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4" name="Freeform: Shape 483" descr="Migration execution">
            <a:extLst>
              <a:ext uri="{FF2B5EF4-FFF2-40B4-BE49-F238E27FC236}">
                <a16:creationId xmlns:a16="http://schemas.microsoft.com/office/drawing/2014/main" id="{BB352E90-0E2D-40CD-B372-590721B3A617}"/>
              </a:ext>
            </a:extLst>
          </p:cNvPr>
          <p:cNvSpPr/>
          <p:nvPr/>
        </p:nvSpPr>
        <p:spPr>
          <a:xfrm rot="10800000">
            <a:off x="6881191" y="4868517"/>
            <a:ext cx="820362" cy="779319"/>
          </a:xfrm>
          <a:custGeom>
            <a:avLst/>
            <a:gdLst>
              <a:gd name="connsiteX0" fmla="*/ 627888 w 627888"/>
              <a:gd name="connsiteY0" fmla="*/ 779319 h 779319"/>
              <a:gd name="connsiteX1" fmla="*/ 0 w 627888"/>
              <a:gd name="connsiteY1" fmla="*/ 779319 h 779319"/>
              <a:gd name="connsiteX2" fmla="*/ 0 w 627888"/>
              <a:gd name="connsiteY2" fmla="*/ 0 h 779319"/>
              <a:gd name="connsiteX3" fmla="*/ 627888 w 627888"/>
              <a:gd name="connsiteY3" fmla="*/ 0 h 779319"/>
              <a:gd name="connsiteX4" fmla="*/ 627888 w 627888"/>
              <a:gd name="connsiteY4" fmla="*/ 779319 h 779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888" h="779319">
                <a:moveTo>
                  <a:pt x="627888" y="779319"/>
                </a:moveTo>
                <a:lnTo>
                  <a:pt x="0" y="779319"/>
                </a:lnTo>
                <a:lnTo>
                  <a:pt x="0" y="0"/>
                </a:lnTo>
                <a:lnTo>
                  <a:pt x="627888" y="0"/>
                </a:lnTo>
                <a:lnTo>
                  <a:pt x="627888" y="779319"/>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3" name="Freeform: Shape 482" descr="Migration support">
            <a:extLst>
              <a:ext uri="{FF2B5EF4-FFF2-40B4-BE49-F238E27FC236}">
                <a16:creationId xmlns:a16="http://schemas.microsoft.com/office/drawing/2014/main" id="{5E83D6C8-BA0F-4F9D-A2ED-0ADFF486E62B}"/>
              </a:ext>
            </a:extLst>
          </p:cNvPr>
          <p:cNvSpPr/>
          <p:nvPr/>
        </p:nvSpPr>
        <p:spPr>
          <a:xfrm rot="10800000">
            <a:off x="7733417" y="4868518"/>
            <a:ext cx="986167" cy="779325"/>
          </a:xfrm>
          <a:custGeom>
            <a:avLst/>
            <a:gdLst>
              <a:gd name="connsiteX0" fmla="*/ 986167 w 986167"/>
              <a:gd name="connsiteY0" fmla="*/ 779325 h 779325"/>
              <a:gd name="connsiteX1" fmla="*/ 669900 w 986167"/>
              <a:gd name="connsiteY1" fmla="*/ 779325 h 779325"/>
              <a:gd name="connsiteX2" fmla="*/ 0 w 986167"/>
              <a:gd name="connsiteY2" fmla="*/ 55783 h 779325"/>
              <a:gd name="connsiteX3" fmla="*/ 46356 w 986167"/>
              <a:gd name="connsiteY3" fmla="*/ 30621 h 779325"/>
              <a:gd name="connsiteX4" fmla="*/ 198029 w 986167"/>
              <a:gd name="connsiteY4" fmla="*/ 0 h 779325"/>
              <a:gd name="connsiteX5" fmla="*/ 198029 w 986167"/>
              <a:gd name="connsiteY5" fmla="*/ 1 h 779325"/>
              <a:gd name="connsiteX6" fmla="*/ 198069 w 986167"/>
              <a:gd name="connsiteY6" fmla="*/ 5 h 779325"/>
              <a:gd name="connsiteX7" fmla="*/ 986167 w 986167"/>
              <a:gd name="connsiteY7" fmla="*/ 6 h 779325"/>
              <a:gd name="connsiteX8" fmla="*/ 986167 w 986167"/>
              <a:gd name="connsiteY8" fmla="*/ 779325 h 77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167" h="779325">
                <a:moveTo>
                  <a:pt x="986167" y="779325"/>
                </a:moveTo>
                <a:lnTo>
                  <a:pt x="669900" y="779325"/>
                </a:lnTo>
                <a:lnTo>
                  <a:pt x="0" y="55783"/>
                </a:lnTo>
                <a:lnTo>
                  <a:pt x="46356" y="30621"/>
                </a:lnTo>
                <a:cubicBezTo>
                  <a:pt x="92974" y="10904"/>
                  <a:pt x="144228" y="0"/>
                  <a:pt x="198029" y="0"/>
                </a:cubicBezTo>
                <a:lnTo>
                  <a:pt x="198029" y="1"/>
                </a:lnTo>
                <a:lnTo>
                  <a:pt x="198069" y="5"/>
                </a:lnTo>
                <a:lnTo>
                  <a:pt x="986167" y="6"/>
                </a:lnTo>
                <a:lnTo>
                  <a:pt x="986167" y="77932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2" name="Freeform: Shape 481" descr="DevOps and automation">
            <a:extLst>
              <a:ext uri="{FF2B5EF4-FFF2-40B4-BE49-F238E27FC236}">
                <a16:creationId xmlns:a16="http://schemas.microsoft.com/office/drawing/2014/main" id="{B24D2670-60B2-4827-9E5A-F8BD3562C5B4}"/>
              </a:ext>
            </a:extLst>
          </p:cNvPr>
          <p:cNvSpPr/>
          <p:nvPr/>
        </p:nvSpPr>
        <p:spPr>
          <a:xfrm rot="10800000">
            <a:off x="10318170" y="4898224"/>
            <a:ext cx="783276" cy="749617"/>
          </a:xfrm>
          <a:custGeom>
            <a:avLst/>
            <a:gdLst>
              <a:gd name="connsiteX0" fmla="*/ 196355 w 992563"/>
              <a:gd name="connsiteY0" fmla="*/ 779327 h 779327"/>
              <a:gd name="connsiteX1" fmla="*/ 0 w 992563"/>
              <a:gd name="connsiteY1" fmla="*/ 779327 h 779327"/>
              <a:gd name="connsiteX2" fmla="*/ 0 w 992563"/>
              <a:gd name="connsiteY2" fmla="*/ 8 h 779327"/>
              <a:gd name="connsiteX3" fmla="*/ 602828 w 992563"/>
              <a:gd name="connsiteY3" fmla="*/ 8 h 779327"/>
              <a:gd name="connsiteX4" fmla="*/ 602903 w 992563"/>
              <a:gd name="connsiteY4" fmla="*/ 0 h 779327"/>
              <a:gd name="connsiteX5" fmla="*/ 602903 w 992563"/>
              <a:gd name="connsiteY5" fmla="*/ 1 h 779327"/>
              <a:gd name="connsiteX6" fmla="*/ 603435 w 992563"/>
              <a:gd name="connsiteY6" fmla="*/ 55 h 779327"/>
              <a:gd name="connsiteX7" fmla="*/ 671877 w 992563"/>
              <a:gd name="connsiteY7" fmla="*/ 6094 h 779327"/>
              <a:gd name="connsiteX8" fmla="*/ 676961 w 992563"/>
              <a:gd name="connsiteY8" fmla="*/ 7467 h 779327"/>
              <a:gd name="connsiteX9" fmla="*/ 681433 w 992563"/>
              <a:gd name="connsiteY9" fmla="*/ 7918 h 779327"/>
              <a:gd name="connsiteX10" fmla="*/ 700222 w 992563"/>
              <a:gd name="connsiteY10" fmla="*/ 13750 h 779327"/>
              <a:gd name="connsiteX11" fmla="*/ 736879 w 992563"/>
              <a:gd name="connsiteY11" fmla="*/ 23652 h 779327"/>
              <a:gd name="connsiteX12" fmla="*/ 746342 w 992563"/>
              <a:gd name="connsiteY12" fmla="*/ 28067 h 779327"/>
              <a:gd name="connsiteX13" fmla="*/ 754576 w 992563"/>
              <a:gd name="connsiteY13" fmla="*/ 30623 h 779327"/>
              <a:gd name="connsiteX14" fmla="*/ 771430 w 992563"/>
              <a:gd name="connsiteY14" fmla="*/ 39771 h 779327"/>
              <a:gd name="connsiteX15" fmla="*/ 796857 w 992563"/>
              <a:gd name="connsiteY15" fmla="*/ 51633 h 779327"/>
              <a:gd name="connsiteX16" fmla="*/ 809767 w 992563"/>
              <a:gd name="connsiteY16" fmla="*/ 60580 h 779327"/>
              <a:gd name="connsiteX17" fmla="*/ 820765 w 992563"/>
              <a:gd name="connsiteY17" fmla="*/ 66549 h 779327"/>
              <a:gd name="connsiteX18" fmla="*/ 833269 w 992563"/>
              <a:gd name="connsiteY18" fmla="*/ 76866 h 779327"/>
              <a:gd name="connsiteX19" fmla="*/ 850761 w 992563"/>
              <a:gd name="connsiteY19" fmla="*/ 88987 h 779327"/>
              <a:gd name="connsiteX20" fmla="*/ 866029 w 992563"/>
              <a:gd name="connsiteY20" fmla="*/ 103895 h 779327"/>
              <a:gd name="connsiteX21" fmla="*/ 878434 w 992563"/>
              <a:gd name="connsiteY21" fmla="*/ 114130 h 779327"/>
              <a:gd name="connsiteX22" fmla="*/ 886402 w 992563"/>
              <a:gd name="connsiteY22" fmla="*/ 123788 h 779327"/>
              <a:gd name="connsiteX23" fmla="*/ 897541 w 992563"/>
              <a:gd name="connsiteY23" fmla="*/ 134664 h 779327"/>
              <a:gd name="connsiteX24" fmla="*/ 913992 w 992563"/>
              <a:gd name="connsiteY24" fmla="*/ 157227 h 779327"/>
              <a:gd name="connsiteX25" fmla="*/ 926015 w 992563"/>
              <a:gd name="connsiteY25" fmla="*/ 171799 h 779327"/>
              <a:gd name="connsiteX26" fmla="*/ 930088 w 992563"/>
              <a:gd name="connsiteY26" fmla="*/ 179303 h 779327"/>
              <a:gd name="connsiteX27" fmla="*/ 936148 w 992563"/>
              <a:gd name="connsiteY27" fmla="*/ 187615 h 779327"/>
              <a:gd name="connsiteX28" fmla="*/ 940197 w 992563"/>
              <a:gd name="connsiteY28" fmla="*/ 197927 h 779327"/>
              <a:gd name="connsiteX29" fmla="*/ 961941 w 992563"/>
              <a:gd name="connsiteY29" fmla="*/ 237988 h 779327"/>
              <a:gd name="connsiteX30" fmla="*/ 968310 w 992563"/>
              <a:gd name="connsiteY30" fmla="*/ 269534 h 779327"/>
              <a:gd name="connsiteX31" fmla="*/ 984644 w 992563"/>
              <a:gd name="connsiteY31" fmla="*/ 311138 h 779327"/>
              <a:gd name="connsiteX32" fmla="*/ 992558 w 992563"/>
              <a:gd name="connsiteY32" fmla="*/ 389636 h 779327"/>
              <a:gd name="connsiteX33" fmla="*/ 992563 w 992563"/>
              <a:gd name="connsiteY33" fmla="*/ 389661 h 779327"/>
              <a:gd name="connsiteX34" fmla="*/ 992563 w 992563"/>
              <a:gd name="connsiteY34" fmla="*/ 593479 h 779327"/>
              <a:gd name="connsiteX35" fmla="*/ 196355 w 992563"/>
              <a:gd name="connsiteY35" fmla="*/ 779327 h 779327"/>
              <a:gd name="connsiteX0" fmla="*/ 196355 w 1003196"/>
              <a:gd name="connsiteY0" fmla="*/ 779327 h 781397"/>
              <a:gd name="connsiteX1" fmla="*/ 0 w 1003196"/>
              <a:gd name="connsiteY1" fmla="*/ 779327 h 781397"/>
              <a:gd name="connsiteX2" fmla="*/ 0 w 1003196"/>
              <a:gd name="connsiteY2" fmla="*/ 8 h 781397"/>
              <a:gd name="connsiteX3" fmla="*/ 602828 w 1003196"/>
              <a:gd name="connsiteY3" fmla="*/ 8 h 781397"/>
              <a:gd name="connsiteX4" fmla="*/ 602903 w 1003196"/>
              <a:gd name="connsiteY4" fmla="*/ 0 h 781397"/>
              <a:gd name="connsiteX5" fmla="*/ 602903 w 1003196"/>
              <a:gd name="connsiteY5" fmla="*/ 1 h 781397"/>
              <a:gd name="connsiteX6" fmla="*/ 603435 w 1003196"/>
              <a:gd name="connsiteY6" fmla="*/ 55 h 781397"/>
              <a:gd name="connsiteX7" fmla="*/ 671877 w 1003196"/>
              <a:gd name="connsiteY7" fmla="*/ 6094 h 781397"/>
              <a:gd name="connsiteX8" fmla="*/ 676961 w 1003196"/>
              <a:gd name="connsiteY8" fmla="*/ 7467 h 781397"/>
              <a:gd name="connsiteX9" fmla="*/ 681433 w 1003196"/>
              <a:gd name="connsiteY9" fmla="*/ 7918 h 781397"/>
              <a:gd name="connsiteX10" fmla="*/ 700222 w 1003196"/>
              <a:gd name="connsiteY10" fmla="*/ 13750 h 781397"/>
              <a:gd name="connsiteX11" fmla="*/ 736879 w 1003196"/>
              <a:gd name="connsiteY11" fmla="*/ 23652 h 781397"/>
              <a:gd name="connsiteX12" fmla="*/ 746342 w 1003196"/>
              <a:gd name="connsiteY12" fmla="*/ 28067 h 781397"/>
              <a:gd name="connsiteX13" fmla="*/ 754576 w 1003196"/>
              <a:gd name="connsiteY13" fmla="*/ 30623 h 781397"/>
              <a:gd name="connsiteX14" fmla="*/ 771430 w 1003196"/>
              <a:gd name="connsiteY14" fmla="*/ 39771 h 781397"/>
              <a:gd name="connsiteX15" fmla="*/ 796857 w 1003196"/>
              <a:gd name="connsiteY15" fmla="*/ 51633 h 781397"/>
              <a:gd name="connsiteX16" fmla="*/ 809767 w 1003196"/>
              <a:gd name="connsiteY16" fmla="*/ 60580 h 781397"/>
              <a:gd name="connsiteX17" fmla="*/ 820765 w 1003196"/>
              <a:gd name="connsiteY17" fmla="*/ 66549 h 781397"/>
              <a:gd name="connsiteX18" fmla="*/ 833269 w 1003196"/>
              <a:gd name="connsiteY18" fmla="*/ 76866 h 781397"/>
              <a:gd name="connsiteX19" fmla="*/ 850761 w 1003196"/>
              <a:gd name="connsiteY19" fmla="*/ 88987 h 781397"/>
              <a:gd name="connsiteX20" fmla="*/ 866029 w 1003196"/>
              <a:gd name="connsiteY20" fmla="*/ 103895 h 781397"/>
              <a:gd name="connsiteX21" fmla="*/ 878434 w 1003196"/>
              <a:gd name="connsiteY21" fmla="*/ 114130 h 781397"/>
              <a:gd name="connsiteX22" fmla="*/ 886402 w 1003196"/>
              <a:gd name="connsiteY22" fmla="*/ 123788 h 781397"/>
              <a:gd name="connsiteX23" fmla="*/ 897541 w 1003196"/>
              <a:gd name="connsiteY23" fmla="*/ 134664 h 781397"/>
              <a:gd name="connsiteX24" fmla="*/ 913992 w 1003196"/>
              <a:gd name="connsiteY24" fmla="*/ 157227 h 781397"/>
              <a:gd name="connsiteX25" fmla="*/ 926015 w 1003196"/>
              <a:gd name="connsiteY25" fmla="*/ 171799 h 781397"/>
              <a:gd name="connsiteX26" fmla="*/ 930088 w 1003196"/>
              <a:gd name="connsiteY26" fmla="*/ 179303 h 781397"/>
              <a:gd name="connsiteX27" fmla="*/ 936148 w 1003196"/>
              <a:gd name="connsiteY27" fmla="*/ 187615 h 781397"/>
              <a:gd name="connsiteX28" fmla="*/ 940197 w 1003196"/>
              <a:gd name="connsiteY28" fmla="*/ 197927 h 781397"/>
              <a:gd name="connsiteX29" fmla="*/ 961941 w 1003196"/>
              <a:gd name="connsiteY29" fmla="*/ 237988 h 781397"/>
              <a:gd name="connsiteX30" fmla="*/ 968310 w 1003196"/>
              <a:gd name="connsiteY30" fmla="*/ 269534 h 781397"/>
              <a:gd name="connsiteX31" fmla="*/ 984644 w 1003196"/>
              <a:gd name="connsiteY31" fmla="*/ 311138 h 781397"/>
              <a:gd name="connsiteX32" fmla="*/ 992558 w 1003196"/>
              <a:gd name="connsiteY32" fmla="*/ 389636 h 781397"/>
              <a:gd name="connsiteX33" fmla="*/ 992563 w 1003196"/>
              <a:gd name="connsiteY33" fmla="*/ 389661 h 781397"/>
              <a:gd name="connsiteX34" fmla="*/ 1003196 w 1003196"/>
              <a:gd name="connsiteY34" fmla="*/ 781397 h 781397"/>
              <a:gd name="connsiteX35" fmla="*/ 196355 w 1003196"/>
              <a:gd name="connsiteY35" fmla="*/ 779327 h 781397"/>
              <a:gd name="connsiteX0" fmla="*/ 196355 w 1003196"/>
              <a:gd name="connsiteY0" fmla="*/ 779327 h 779327"/>
              <a:gd name="connsiteX1" fmla="*/ 0 w 1003196"/>
              <a:gd name="connsiteY1" fmla="*/ 779327 h 779327"/>
              <a:gd name="connsiteX2" fmla="*/ 0 w 1003196"/>
              <a:gd name="connsiteY2" fmla="*/ 8 h 779327"/>
              <a:gd name="connsiteX3" fmla="*/ 602828 w 1003196"/>
              <a:gd name="connsiteY3" fmla="*/ 8 h 779327"/>
              <a:gd name="connsiteX4" fmla="*/ 602903 w 1003196"/>
              <a:gd name="connsiteY4" fmla="*/ 0 h 779327"/>
              <a:gd name="connsiteX5" fmla="*/ 602903 w 1003196"/>
              <a:gd name="connsiteY5" fmla="*/ 1 h 779327"/>
              <a:gd name="connsiteX6" fmla="*/ 603435 w 1003196"/>
              <a:gd name="connsiteY6" fmla="*/ 55 h 779327"/>
              <a:gd name="connsiteX7" fmla="*/ 671877 w 1003196"/>
              <a:gd name="connsiteY7" fmla="*/ 6094 h 779327"/>
              <a:gd name="connsiteX8" fmla="*/ 676961 w 1003196"/>
              <a:gd name="connsiteY8" fmla="*/ 7467 h 779327"/>
              <a:gd name="connsiteX9" fmla="*/ 681433 w 1003196"/>
              <a:gd name="connsiteY9" fmla="*/ 7918 h 779327"/>
              <a:gd name="connsiteX10" fmla="*/ 700222 w 1003196"/>
              <a:gd name="connsiteY10" fmla="*/ 13750 h 779327"/>
              <a:gd name="connsiteX11" fmla="*/ 736879 w 1003196"/>
              <a:gd name="connsiteY11" fmla="*/ 23652 h 779327"/>
              <a:gd name="connsiteX12" fmla="*/ 746342 w 1003196"/>
              <a:gd name="connsiteY12" fmla="*/ 28067 h 779327"/>
              <a:gd name="connsiteX13" fmla="*/ 754576 w 1003196"/>
              <a:gd name="connsiteY13" fmla="*/ 30623 h 779327"/>
              <a:gd name="connsiteX14" fmla="*/ 771430 w 1003196"/>
              <a:gd name="connsiteY14" fmla="*/ 39771 h 779327"/>
              <a:gd name="connsiteX15" fmla="*/ 796857 w 1003196"/>
              <a:gd name="connsiteY15" fmla="*/ 51633 h 779327"/>
              <a:gd name="connsiteX16" fmla="*/ 809767 w 1003196"/>
              <a:gd name="connsiteY16" fmla="*/ 60580 h 779327"/>
              <a:gd name="connsiteX17" fmla="*/ 820765 w 1003196"/>
              <a:gd name="connsiteY17" fmla="*/ 66549 h 779327"/>
              <a:gd name="connsiteX18" fmla="*/ 833269 w 1003196"/>
              <a:gd name="connsiteY18" fmla="*/ 76866 h 779327"/>
              <a:gd name="connsiteX19" fmla="*/ 850761 w 1003196"/>
              <a:gd name="connsiteY19" fmla="*/ 88987 h 779327"/>
              <a:gd name="connsiteX20" fmla="*/ 866029 w 1003196"/>
              <a:gd name="connsiteY20" fmla="*/ 103895 h 779327"/>
              <a:gd name="connsiteX21" fmla="*/ 878434 w 1003196"/>
              <a:gd name="connsiteY21" fmla="*/ 114130 h 779327"/>
              <a:gd name="connsiteX22" fmla="*/ 886402 w 1003196"/>
              <a:gd name="connsiteY22" fmla="*/ 123788 h 779327"/>
              <a:gd name="connsiteX23" fmla="*/ 897541 w 1003196"/>
              <a:gd name="connsiteY23" fmla="*/ 134664 h 779327"/>
              <a:gd name="connsiteX24" fmla="*/ 913992 w 1003196"/>
              <a:gd name="connsiteY24" fmla="*/ 157227 h 779327"/>
              <a:gd name="connsiteX25" fmla="*/ 926015 w 1003196"/>
              <a:gd name="connsiteY25" fmla="*/ 171799 h 779327"/>
              <a:gd name="connsiteX26" fmla="*/ 930088 w 1003196"/>
              <a:gd name="connsiteY26" fmla="*/ 179303 h 779327"/>
              <a:gd name="connsiteX27" fmla="*/ 936148 w 1003196"/>
              <a:gd name="connsiteY27" fmla="*/ 187615 h 779327"/>
              <a:gd name="connsiteX28" fmla="*/ 940197 w 1003196"/>
              <a:gd name="connsiteY28" fmla="*/ 197927 h 779327"/>
              <a:gd name="connsiteX29" fmla="*/ 961941 w 1003196"/>
              <a:gd name="connsiteY29" fmla="*/ 237988 h 779327"/>
              <a:gd name="connsiteX30" fmla="*/ 968310 w 1003196"/>
              <a:gd name="connsiteY30" fmla="*/ 269534 h 779327"/>
              <a:gd name="connsiteX31" fmla="*/ 984644 w 1003196"/>
              <a:gd name="connsiteY31" fmla="*/ 311138 h 779327"/>
              <a:gd name="connsiteX32" fmla="*/ 992558 w 1003196"/>
              <a:gd name="connsiteY32" fmla="*/ 389636 h 779327"/>
              <a:gd name="connsiteX33" fmla="*/ 992563 w 1003196"/>
              <a:gd name="connsiteY33" fmla="*/ 389661 h 779327"/>
              <a:gd name="connsiteX34" fmla="*/ 1003196 w 1003196"/>
              <a:gd name="connsiteY34" fmla="*/ 775869 h 779327"/>
              <a:gd name="connsiteX35" fmla="*/ 196355 w 1003196"/>
              <a:gd name="connsiteY35" fmla="*/ 779327 h 779327"/>
              <a:gd name="connsiteX0" fmla="*/ 1003196 w 1003196"/>
              <a:gd name="connsiteY0" fmla="*/ 775869 h 779327"/>
              <a:gd name="connsiteX1" fmla="*/ 0 w 1003196"/>
              <a:gd name="connsiteY1" fmla="*/ 779327 h 779327"/>
              <a:gd name="connsiteX2" fmla="*/ 0 w 1003196"/>
              <a:gd name="connsiteY2" fmla="*/ 8 h 779327"/>
              <a:gd name="connsiteX3" fmla="*/ 602828 w 1003196"/>
              <a:gd name="connsiteY3" fmla="*/ 8 h 779327"/>
              <a:gd name="connsiteX4" fmla="*/ 602903 w 1003196"/>
              <a:gd name="connsiteY4" fmla="*/ 0 h 779327"/>
              <a:gd name="connsiteX5" fmla="*/ 602903 w 1003196"/>
              <a:gd name="connsiteY5" fmla="*/ 1 h 779327"/>
              <a:gd name="connsiteX6" fmla="*/ 603435 w 1003196"/>
              <a:gd name="connsiteY6" fmla="*/ 55 h 779327"/>
              <a:gd name="connsiteX7" fmla="*/ 671877 w 1003196"/>
              <a:gd name="connsiteY7" fmla="*/ 6094 h 779327"/>
              <a:gd name="connsiteX8" fmla="*/ 676961 w 1003196"/>
              <a:gd name="connsiteY8" fmla="*/ 7467 h 779327"/>
              <a:gd name="connsiteX9" fmla="*/ 681433 w 1003196"/>
              <a:gd name="connsiteY9" fmla="*/ 7918 h 779327"/>
              <a:gd name="connsiteX10" fmla="*/ 700222 w 1003196"/>
              <a:gd name="connsiteY10" fmla="*/ 13750 h 779327"/>
              <a:gd name="connsiteX11" fmla="*/ 736879 w 1003196"/>
              <a:gd name="connsiteY11" fmla="*/ 23652 h 779327"/>
              <a:gd name="connsiteX12" fmla="*/ 746342 w 1003196"/>
              <a:gd name="connsiteY12" fmla="*/ 28067 h 779327"/>
              <a:gd name="connsiteX13" fmla="*/ 754576 w 1003196"/>
              <a:gd name="connsiteY13" fmla="*/ 30623 h 779327"/>
              <a:gd name="connsiteX14" fmla="*/ 771430 w 1003196"/>
              <a:gd name="connsiteY14" fmla="*/ 39771 h 779327"/>
              <a:gd name="connsiteX15" fmla="*/ 796857 w 1003196"/>
              <a:gd name="connsiteY15" fmla="*/ 51633 h 779327"/>
              <a:gd name="connsiteX16" fmla="*/ 809767 w 1003196"/>
              <a:gd name="connsiteY16" fmla="*/ 60580 h 779327"/>
              <a:gd name="connsiteX17" fmla="*/ 820765 w 1003196"/>
              <a:gd name="connsiteY17" fmla="*/ 66549 h 779327"/>
              <a:gd name="connsiteX18" fmla="*/ 833269 w 1003196"/>
              <a:gd name="connsiteY18" fmla="*/ 76866 h 779327"/>
              <a:gd name="connsiteX19" fmla="*/ 850761 w 1003196"/>
              <a:gd name="connsiteY19" fmla="*/ 88987 h 779327"/>
              <a:gd name="connsiteX20" fmla="*/ 866029 w 1003196"/>
              <a:gd name="connsiteY20" fmla="*/ 103895 h 779327"/>
              <a:gd name="connsiteX21" fmla="*/ 878434 w 1003196"/>
              <a:gd name="connsiteY21" fmla="*/ 114130 h 779327"/>
              <a:gd name="connsiteX22" fmla="*/ 886402 w 1003196"/>
              <a:gd name="connsiteY22" fmla="*/ 123788 h 779327"/>
              <a:gd name="connsiteX23" fmla="*/ 897541 w 1003196"/>
              <a:gd name="connsiteY23" fmla="*/ 134664 h 779327"/>
              <a:gd name="connsiteX24" fmla="*/ 913992 w 1003196"/>
              <a:gd name="connsiteY24" fmla="*/ 157227 h 779327"/>
              <a:gd name="connsiteX25" fmla="*/ 926015 w 1003196"/>
              <a:gd name="connsiteY25" fmla="*/ 171799 h 779327"/>
              <a:gd name="connsiteX26" fmla="*/ 930088 w 1003196"/>
              <a:gd name="connsiteY26" fmla="*/ 179303 h 779327"/>
              <a:gd name="connsiteX27" fmla="*/ 936148 w 1003196"/>
              <a:gd name="connsiteY27" fmla="*/ 187615 h 779327"/>
              <a:gd name="connsiteX28" fmla="*/ 940197 w 1003196"/>
              <a:gd name="connsiteY28" fmla="*/ 197927 h 779327"/>
              <a:gd name="connsiteX29" fmla="*/ 961941 w 1003196"/>
              <a:gd name="connsiteY29" fmla="*/ 237988 h 779327"/>
              <a:gd name="connsiteX30" fmla="*/ 968310 w 1003196"/>
              <a:gd name="connsiteY30" fmla="*/ 269534 h 779327"/>
              <a:gd name="connsiteX31" fmla="*/ 984644 w 1003196"/>
              <a:gd name="connsiteY31" fmla="*/ 311138 h 779327"/>
              <a:gd name="connsiteX32" fmla="*/ 992558 w 1003196"/>
              <a:gd name="connsiteY32" fmla="*/ 389636 h 779327"/>
              <a:gd name="connsiteX33" fmla="*/ 992563 w 1003196"/>
              <a:gd name="connsiteY33" fmla="*/ 389661 h 779327"/>
              <a:gd name="connsiteX34" fmla="*/ 1003196 w 1003196"/>
              <a:gd name="connsiteY34" fmla="*/ 775869 h 77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03196" h="779327">
                <a:moveTo>
                  <a:pt x="1003196" y="775869"/>
                </a:moveTo>
                <a:lnTo>
                  <a:pt x="0" y="779327"/>
                </a:lnTo>
                <a:lnTo>
                  <a:pt x="0" y="8"/>
                </a:lnTo>
                <a:lnTo>
                  <a:pt x="602828" y="8"/>
                </a:lnTo>
                <a:cubicBezTo>
                  <a:pt x="602853" y="5"/>
                  <a:pt x="602878" y="3"/>
                  <a:pt x="602903" y="0"/>
                </a:cubicBezTo>
                <a:lnTo>
                  <a:pt x="602903" y="1"/>
                </a:lnTo>
                <a:lnTo>
                  <a:pt x="603435" y="55"/>
                </a:lnTo>
                <a:lnTo>
                  <a:pt x="671877" y="6094"/>
                </a:lnTo>
                <a:lnTo>
                  <a:pt x="676961" y="7467"/>
                </a:lnTo>
                <a:lnTo>
                  <a:pt x="681433" y="7918"/>
                </a:lnTo>
                <a:lnTo>
                  <a:pt x="700222" y="13750"/>
                </a:lnTo>
                <a:lnTo>
                  <a:pt x="736879" y="23652"/>
                </a:lnTo>
                <a:lnTo>
                  <a:pt x="746342" y="28067"/>
                </a:lnTo>
                <a:lnTo>
                  <a:pt x="754576" y="30623"/>
                </a:lnTo>
                <a:lnTo>
                  <a:pt x="771430" y="39771"/>
                </a:lnTo>
                <a:lnTo>
                  <a:pt x="796857" y="51633"/>
                </a:lnTo>
                <a:lnTo>
                  <a:pt x="809767" y="60580"/>
                </a:lnTo>
                <a:lnTo>
                  <a:pt x="820765" y="66549"/>
                </a:lnTo>
                <a:lnTo>
                  <a:pt x="833269" y="76866"/>
                </a:lnTo>
                <a:lnTo>
                  <a:pt x="850761" y="88987"/>
                </a:lnTo>
                <a:lnTo>
                  <a:pt x="866029" y="103895"/>
                </a:lnTo>
                <a:lnTo>
                  <a:pt x="878434" y="114130"/>
                </a:lnTo>
                <a:lnTo>
                  <a:pt x="886402" y="123788"/>
                </a:lnTo>
                <a:lnTo>
                  <a:pt x="897541" y="134664"/>
                </a:lnTo>
                <a:lnTo>
                  <a:pt x="913992" y="157227"/>
                </a:lnTo>
                <a:lnTo>
                  <a:pt x="926015" y="171799"/>
                </a:lnTo>
                <a:lnTo>
                  <a:pt x="930088" y="179303"/>
                </a:lnTo>
                <a:lnTo>
                  <a:pt x="936148" y="187615"/>
                </a:lnTo>
                <a:lnTo>
                  <a:pt x="940197" y="197927"/>
                </a:lnTo>
                <a:lnTo>
                  <a:pt x="961941" y="237988"/>
                </a:lnTo>
                <a:lnTo>
                  <a:pt x="968310" y="269534"/>
                </a:lnTo>
                <a:lnTo>
                  <a:pt x="984644" y="311138"/>
                </a:lnTo>
                <a:lnTo>
                  <a:pt x="992558" y="389636"/>
                </a:lnTo>
                <a:cubicBezTo>
                  <a:pt x="992560" y="389644"/>
                  <a:pt x="992561" y="389653"/>
                  <a:pt x="992563" y="389661"/>
                </a:cubicBezTo>
                <a:lnTo>
                  <a:pt x="1003196" y="77586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77" name="Freeform: Shape 676">
            <a:extLst>
              <a:ext uri="{FF2B5EF4-FFF2-40B4-BE49-F238E27FC236}">
                <a16:creationId xmlns:a16="http://schemas.microsoft.com/office/drawing/2014/main" id="{59FC0C21-0BD1-4A68-8EA9-37B99C57278A}"/>
              </a:ext>
              <a:ext uri="{C183D7F6-B498-43B3-948B-1728B52AA6E4}">
                <adec:decorative xmlns:adec="http://schemas.microsoft.com/office/drawing/2017/decorative" val="1"/>
              </a:ext>
            </a:extLst>
          </p:cNvPr>
          <p:cNvSpPr/>
          <p:nvPr/>
        </p:nvSpPr>
        <p:spPr>
          <a:xfrm rot="10800000">
            <a:off x="11137704" y="4897294"/>
            <a:ext cx="1054295" cy="750544"/>
          </a:xfrm>
          <a:custGeom>
            <a:avLst/>
            <a:gdLst>
              <a:gd name="connsiteX0" fmla="*/ 853834 w 853834"/>
              <a:gd name="connsiteY0" fmla="*/ 779320 h 779320"/>
              <a:gd name="connsiteX1" fmla="*/ 0 w 853834"/>
              <a:gd name="connsiteY1" fmla="*/ 779320 h 779320"/>
              <a:gd name="connsiteX2" fmla="*/ 0 w 853834"/>
              <a:gd name="connsiteY2" fmla="*/ 0 h 779320"/>
              <a:gd name="connsiteX3" fmla="*/ 853834 w 853834"/>
              <a:gd name="connsiteY3" fmla="*/ 1 h 779320"/>
            </a:gdLst>
            <a:ahLst/>
            <a:cxnLst>
              <a:cxn ang="0">
                <a:pos x="connsiteX0" y="connsiteY0"/>
              </a:cxn>
              <a:cxn ang="0">
                <a:pos x="connsiteX1" y="connsiteY1"/>
              </a:cxn>
              <a:cxn ang="0">
                <a:pos x="connsiteX2" y="connsiteY2"/>
              </a:cxn>
              <a:cxn ang="0">
                <a:pos x="connsiteX3" y="connsiteY3"/>
              </a:cxn>
            </a:cxnLst>
            <a:rect l="l" t="t" r="r" b="b"/>
            <a:pathLst>
              <a:path w="853834" h="779320">
                <a:moveTo>
                  <a:pt x="853834" y="779320"/>
                </a:moveTo>
                <a:lnTo>
                  <a:pt x="0" y="779320"/>
                </a:lnTo>
                <a:lnTo>
                  <a:pt x="0" y="0"/>
                </a:lnTo>
                <a:lnTo>
                  <a:pt x="853834"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Title 6">
            <a:extLst>
              <a:ext uri="{FF2B5EF4-FFF2-40B4-BE49-F238E27FC236}">
                <a16:creationId xmlns:a16="http://schemas.microsoft.com/office/drawing/2014/main" id="{32C60991-C9B6-4930-8E8F-6CD1767D873D}"/>
              </a:ext>
              <a:ext uri="{C183D7F6-B498-43B3-948B-1728B52AA6E4}">
                <adec:decorative xmlns:adec="http://schemas.microsoft.com/office/drawing/2017/decorative" val="1"/>
              </a:ext>
            </a:extLst>
          </p:cNvPr>
          <p:cNvSpPr txBox="1">
            <a:spLocks/>
          </p:cNvSpPr>
          <p:nvPr/>
        </p:nvSpPr>
        <p:spPr>
          <a:xfrm>
            <a:off x="414867" y="119617"/>
            <a:ext cx="11079606" cy="488538"/>
          </a:xfrm>
          <a:prstGeom prst="rect">
            <a:avLst/>
          </a:prstGeom>
        </p:spPr>
        <p:txBody>
          <a:bodyPr vert="horz" lIns="0" tIns="44821" rIns="89642" bIns="44821" rtlCol="0" anchor="t">
            <a:noAutofit/>
          </a:bodyPr>
          <a:lstStyle>
            <a:lvl1pPr algn="l" defTabSz="930087" rtl="0" eaLnBrk="1" latinLnBrk="0" hangingPunct="1">
              <a:lnSpc>
                <a:spcPct val="90000"/>
              </a:lnSpc>
              <a:spcBef>
                <a:spcPct val="0"/>
              </a:spcBef>
              <a:buNone/>
              <a:defRPr sz="3599" kern="1200">
                <a:solidFill>
                  <a:schemeClr val="bg2"/>
                </a:solidFill>
                <a:latin typeface="+mj-lt"/>
                <a:ea typeface="+mj-ea"/>
                <a:cs typeface="+mj-cs"/>
              </a:defRPr>
            </a:lvl1pPr>
          </a:lstStyle>
          <a:p>
            <a:pPr marL="0" marR="0" lvl="0" indent="0" algn="l" defTabSz="911764" rtl="0" eaLnBrk="1" fontAlgn="auto" latinLnBrk="0" hangingPunct="1">
              <a:lnSpc>
                <a:spcPct val="90000"/>
              </a:lnSpc>
              <a:spcBef>
                <a:spcPct val="0"/>
              </a:spcBef>
              <a:spcAft>
                <a:spcPts val="0"/>
              </a:spcAft>
              <a:buClrTx/>
              <a:buSzTx/>
              <a:buFontTx/>
              <a:buNone/>
              <a:tabLst/>
              <a:defRPr/>
            </a:pPr>
            <a:endParaRPr kumimoji="0" lang="en-US" sz="3528" b="0" i="0" u="none" strike="noStrike" kern="1200" cap="none" spc="0" normalizeH="0" baseline="0" noProof="0">
              <a:ln>
                <a:noFill/>
              </a:ln>
              <a:solidFill>
                <a:prstClr val="white"/>
              </a:solidFill>
              <a:effectLst/>
              <a:uLnTx/>
              <a:uFillTx/>
              <a:latin typeface="Segoe UI Semibold"/>
              <a:ea typeface="+mj-ea"/>
              <a:cs typeface="+mj-cs"/>
            </a:endParaRPr>
          </a:p>
        </p:txBody>
      </p:sp>
      <p:sp>
        <p:nvSpPr>
          <p:cNvPr id="15" name="Block Arc 14" hidden="1">
            <a:extLst>
              <a:ext uri="{FF2B5EF4-FFF2-40B4-BE49-F238E27FC236}">
                <a16:creationId xmlns:a16="http://schemas.microsoft.com/office/drawing/2014/main" id="{A18A1384-F91F-4133-8581-21B262F0D566}"/>
              </a:ext>
            </a:extLst>
          </p:cNvPr>
          <p:cNvSpPr/>
          <p:nvPr>
            <p:custDataLst>
              <p:tags r:id="rId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17" name="Block Arc 16" hidden="1">
            <a:extLst>
              <a:ext uri="{FF2B5EF4-FFF2-40B4-BE49-F238E27FC236}">
                <a16:creationId xmlns:a16="http://schemas.microsoft.com/office/drawing/2014/main" id="{CA0E8247-89D9-4381-A9C1-5232384FC9B2}"/>
              </a:ext>
            </a:extLst>
          </p:cNvPr>
          <p:cNvSpPr/>
          <p:nvPr>
            <p:custDataLst>
              <p:tags r:id="rId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3" name="Block Arc 22" hidden="1">
            <a:extLst>
              <a:ext uri="{FF2B5EF4-FFF2-40B4-BE49-F238E27FC236}">
                <a16:creationId xmlns:a16="http://schemas.microsoft.com/office/drawing/2014/main" id="{D7255DD1-948A-4469-BAB1-AF89D0CB1AD1}"/>
              </a:ext>
            </a:extLst>
          </p:cNvPr>
          <p:cNvSpPr/>
          <p:nvPr>
            <p:custDataLst>
              <p:tags r:id="rId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6" name="Block Arc 25" hidden="1">
            <a:extLst>
              <a:ext uri="{FF2B5EF4-FFF2-40B4-BE49-F238E27FC236}">
                <a16:creationId xmlns:a16="http://schemas.microsoft.com/office/drawing/2014/main" id="{D74EB622-F971-419C-885C-E52519A4A596}"/>
              </a:ext>
            </a:extLst>
          </p:cNvPr>
          <p:cNvSpPr/>
          <p:nvPr>
            <p:custDataLst>
              <p:tags r:id="rId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7" name="Block Arc 26" hidden="1">
            <a:extLst>
              <a:ext uri="{FF2B5EF4-FFF2-40B4-BE49-F238E27FC236}">
                <a16:creationId xmlns:a16="http://schemas.microsoft.com/office/drawing/2014/main" id="{B1FB3A85-113B-45B8-B2A3-CF9953B085F4}"/>
              </a:ext>
            </a:extLst>
          </p:cNvPr>
          <p:cNvSpPr/>
          <p:nvPr>
            <p:custDataLst>
              <p:tags r:id="rId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8" name="Block Arc 27" hidden="1">
            <a:extLst>
              <a:ext uri="{FF2B5EF4-FFF2-40B4-BE49-F238E27FC236}">
                <a16:creationId xmlns:a16="http://schemas.microsoft.com/office/drawing/2014/main" id="{41448AB2-61E7-4C59-B652-7AFDDAEFA523}"/>
              </a:ext>
            </a:extLst>
          </p:cNvPr>
          <p:cNvSpPr/>
          <p:nvPr>
            <p:custDataLst>
              <p:tags r:id="rId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9" name="Block Arc 28" hidden="1">
            <a:extLst>
              <a:ext uri="{FF2B5EF4-FFF2-40B4-BE49-F238E27FC236}">
                <a16:creationId xmlns:a16="http://schemas.microsoft.com/office/drawing/2014/main" id="{4E6E3E34-F0AD-4109-831D-CB8202C3996C}"/>
              </a:ext>
            </a:extLst>
          </p:cNvPr>
          <p:cNvSpPr/>
          <p:nvPr>
            <p:custDataLst>
              <p:tags r:id="rId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0" name="Block Arc 29" hidden="1">
            <a:extLst>
              <a:ext uri="{FF2B5EF4-FFF2-40B4-BE49-F238E27FC236}">
                <a16:creationId xmlns:a16="http://schemas.microsoft.com/office/drawing/2014/main" id="{1E61BB00-EDC0-4DDB-A73E-71A19E312297}"/>
              </a:ext>
            </a:extLst>
          </p:cNvPr>
          <p:cNvSpPr/>
          <p:nvPr>
            <p:custDataLst>
              <p:tags r:id="rId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3" name="Block Arc 32" hidden="1">
            <a:extLst>
              <a:ext uri="{FF2B5EF4-FFF2-40B4-BE49-F238E27FC236}">
                <a16:creationId xmlns:a16="http://schemas.microsoft.com/office/drawing/2014/main" id="{85313246-C395-44AC-B163-BA9C7FDE02E4}"/>
              </a:ext>
            </a:extLst>
          </p:cNvPr>
          <p:cNvSpPr/>
          <p:nvPr>
            <p:custDataLst>
              <p:tags r:id="rId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5" name="Block Arc 34" hidden="1">
            <a:extLst>
              <a:ext uri="{FF2B5EF4-FFF2-40B4-BE49-F238E27FC236}">
                <a16:creationId xmlns:a16="http://schemas.microsoft.com/office/drawing/2014/main" id="{2F342779-D99F-4D2B-BBB8-D0C6029F5098}"/>
              </a:ext>
            </a:extLst>
          </p:cNvPr>
          <p:cNvSpPr/>
          <p:nvPr>
            <p:custDataLst>
              <p:tags r:id="rId1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6" name="Block Arc 35" hidden="1">
            <a:extLst>
              <a:ext uri="{FF2B5EF4-FFF2-40B4-BE49-F238E27FC236}">
                <a16:creationId xmlns:a16="http://schemas.microsoft.com/office/drawing/2014/main" id="{2939FF9C-A55F-4F65-9901-BCA07757F53E}"/>
              </a:ext>
            </a:extLst>
          </p:cNvPr>
          <p:cNvSpPr/>
          <p:nvPr>
            <p:custDataLst>
              <p:tags r:id="rId1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7" name="Block Arc 36" hidden="1">
            <a:extLst>
              <a:ext uri="{FF2B5EF4-FFF2-40B4-BE49-F238E27FC236}">
                <a16:creationId xmlns:a16="http://schemas.microsoft.com/office/drawing/2014/main" id="{AAE137F4-EB5C-4347-9002-0C0518190772}"/>
              </a:ext>
            </a:extLst>
          </p:cNvPr>
          <p:cNvSpPr/>
          <p:nvPr>
            <p:custDataLst>
              <p:tags r:id="rId1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8" name="Block Arc 37" hidden="1">
            <a:extLst>
              <a:ext uri="{FF2B5EF4-FFF2-40B4-BE49-F238E27FC236}">
                <a16:creationId xmlns:a16="http://schemas.microsoft.com/office/drawing/2014/main" id="{D2A03A81-BE5F-40A2-91B5-F54A7A1B2AB3}"/>
              </a:ext>
            </a:extLst>
          </p:cNvPr>
          <p:cNvSpPr/>
          <p:nvPr>
            <p:custDataLst>
              <p:tags r:id="rId1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9" name="Block Arc 38" hidden="1">
            <a:extLst>
              <a:ext uri="{FF2B5EF4-FFF2-40B4-BE49-F238E27FC236}">
                <a16:creationId xmlns:a16="http://schemas.microsoft.com/office/drawing/2014/main" id="{9F67D441-7D5A-4630-BF04-367A7AA68204}"/>
              </a:ext>
            </a:extLst>
          </p:cNvPr>
          <p:cNvSpPr/>
          <p:nvPr>
            <p:custDataLst>
              <p:tags r:id="rId1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0" name="Block Arc 39" hidden="1">
            <a:extLst>
              <a:ext uri="{FF2B5EF4-FFF2-40B4-BE49-F238E27FC236}">
                <a16:creationId xmlns:a16="http://schemas.microsoft.com/office/drawing/2014/main" id="{E75B721D-095F-4AE6-B1F2-B861CF651C3B}"/>
              </a:ext>
            </a:extLst>
          </p:cNvPr>
          <p:cNvSpPr/>
          <p:nvPr>
            <p:custDataLst>
              <p:tags r:id="rId15"/>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1" name="Block Arc 40" hidden="1">
            <a:extLst>
              <a:ext uri="{FF2B5EF4-FFF2-40B4-BE49-F238E27FC236}">
                <a16:creationId xmlns:a16="http://schemas.microsoft.com/office/drawing/2014/main" id="{10330C2F-A17D-48C8-9A5E-F4D6E254C4AF}"/>
              </a:ext>
            </a:extLst>
          </p:cNvPr>
          <p:cNvSpPr/>
          <p:nvPr>
            <p:custDataLst>
              <p:tags r:id="rId16"/>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2" name="Block Arc 41" hidden="1">
            <a:extLst>
              <a:ext uri="{FF2B5EF4-FFF2-40B4-BE49-F238E27FC236}">
                <a16:creationId xmlns:a16="http://schemas.microsoft.com/office/drawing/2014/main" id="{677BB4B9-E6C8-4F9C-B35A-187EEE981FAE}"/>
              </a:ext>
            </a:extLst>
          </p:cNvPr>
          <p:cNvSpPr/>
          <p:nvPr>
            <p:custDataLst>
              <p:tags r:id="rId17"/>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3" name="Block Arc 42" hidden="1">
            <a:extLst>
              <a:ext uri="{FF2B5EF4-FFF2-40B4-BE49-F238E27FC236}">
                <a16:creationId xmlns:a16="http://schemas.microsoft.com/office/drawing/2014/main" id="{1C5B02EB-66CD-4E46-839C-1AECF992732C}"/>
              </a:ext>
            </a:extLst>
          </p:cNvPr>
          <p:cNvSpPr/>
          <p:nvPr>
            <p:custDataLst>
              <p:tags r:id="rId18"/>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4" name="Block Arc 43" hidden="1">
            <a:extLst>
              <a:ext uri="{FF2B5EF4-FFF2-40B4-BE49-F238E27FC236}">
                <a16:creationId xmlns:a16="http://schemas.microsoft.com/office/drawing/2014/main" id="{33586051-4921-44B1-A1CC-0FAB49A33A6C}"/>
              </a:ext>
            </a:extLst>
          </p:cNvPr>
          <p:cNvSpPr/>
          <p:nvPr>
            <p:custDataLst>
              <p:tags r:id="rId19"/>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5" name="Block Arc 44" hidden="1">
            <a:extLst>
              <a:ext uri="{FF2B5EF4-FFF2-40B4-BE49-F238E27FC236}">
                <a16:creationId xmlns:a16="http://schemas.microsoft.com/office/drawing/2014/main" id="{827CA672-F4AE-4B78-A91A-DD06C5FE7E52}"/>
              </a:ext>
            </a:extLst>
          </p:cNvPr>
          <p:cNvSpPr/>
          <p:nvPr>
            <p:custDataLst>
              <p:tags r:id="rId20"/>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6" name="Block Arc 45" hidden="1">
            <a:extLst>
              <a:ext uri="{FF2B5EF4-FFF2-40B4-BE49-F238E27FC236}">
                <a16:creationId xmlns:a16="http://schemas.microsoft.com/office/drawing/2014/main" id="{2E8F78A2-E2EB-463A-AB92-DB2595C5D22C}"/>
              </a:ext>
            </a:extLst>
          </p:cNvPr>
          <p:cNvSpPr/>
          <p:nvPr>
            <p:custDataLst>
              <p:tags r:id="rId21"/>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7" name="Block Arc 46" hidden="1">
            <a:extLst>
              <a:ext uri="{FF2B5EF4-FFF2-40B4-BE49-F238E27FC236}">
                <a16:creationId xmlns:a16="http://schemas.microsoft.com/office/drawing/2014/main" id="{E7B4938F-5CCC-4B34-AF6C-10697A12F172}"/>
              </a:ext>
            </a:extLst>
          </p:cNvPr>
          <p:cNvSpPr/>
          <p:nvPr>
            <p:custDataLst>
              <p:tags r:id="rId22"/>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8" name="Block Arc 47" hidden="1">
            <a:extLst>
              <a:ext uri="{FF2B5EF4-FFF2-40B4-BE49-F238E27FC236}">
                <a16:creationId xmlns:a16="http://schemas.microsoft.com/office/drawing/2014/main" id="{B351F859-22F4-4CB6-B811-4244CBA38CE0}"/>
              </a:ext>
            </a:extLst>
          </p:cNvPr>
          <p:cNvSpPr/>
          <p:nvPr>
            <p:custDataLst>
              <p:tags r:id="rId23"/>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9" name="Block Arc 48" hidden="1">
            <a:extLst>
              <a:ext uri="{FF2B5EF4-FFF2-40B4-BE49-F238E27FC236}">
                <a16:creationId xmlns:a16="http://schemas.microsoft.com/office/drawing/2014/main" id="{EF705391-DFCE-45B2-BA0F-B10568FED03E}"/>
              </a:ext>
            </a:extLst>
          </p:cNvPr>
          <p:cNvSpPr/>
          <p:nvPr>
            <p:custDataLst>
              <p:tags r:id="rId24"/>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4" name="Block Arc 53" hidden="1">
            <a:extLst>
              <a:ext uri="{FF2B5EF4-FFF2-40B4-BE49-F238E27FC236}">
                <a16:creationId xmlns:a16="http://schemas.microsoft.com/office/drawing/2014/main" id="{B0DC1832-E02E-4103-BB17-44B14A2E3AD5}"/>
              </a:ext>
            </a:extLst>
          </p:cNvPr>
          <p:cNvSpPr/>
          <p:nvPr>
            <p:custDataLst>
              <p:tags r:id="rId25"/>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5" name="Block Arc 54" hidden="1">
            <a:extLst>
              <a:ext uri="{FF2B5EF4-FFF2-40B4-BE49-F238E27FC236}">
                <a16:creationId xmlns:a16="http://schemas.microsoft.com/office/drawing/2014/main" id="{5EED955F-38EF-4702-9E30-94057FC6EE19}"/>
              </a:ext>
            </a:extLst>
          </p:cNvPr>
          <p:cNvSpPr/>
          <p:nvPr>
            <p:custDataLst>
              <p:tags r:id="rId26"/>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7" name="Block Arc 56" hidden="1">
            <a:extLst>
              <a:ext uri="{FF2B5EF4-FFF2-40B4-BE49-F238E27FC236}">
                <a16:creationId xmlns:a16="http://schemas.microsoft.com/office/drawing/2014/main" id="{1B1F8B74-0D18-4531-9BF7-00A9FCB0F023}"/>
              </a:ext>
            </a:extLst>
          </p:cNvPr>
          <p:cNvSpPr/>
          <p:nvPr>
            <p:custDataLst>
              <p:tags r:id="rId27"/>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8" name="Block Arc 57" hidden="1">
            <a:extLst>
              <a:ext uri="{FF2B5EF4-FFF2-40B4-BE49-F238E27FC236}">
                <a16:creationId xmlns:a16="http://schemas.microsoft.com/office/drawing/2014/main" id="{8F7B0D4F-DA60-46CF-B4DC-C4C19FFD8A68}"/>
              </a:ext>
            </a:extLst>
          </p:cNvPr>
          <p:cNvSpPr/>
          <p:nvPr>
            <p:custDataLst>
              <p:tags r:id="rId28"/>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1" name="Block Arc 60" hidden="1">
            <a:extLst>
              <a:ext uri="{FF2B5EF4-FFF2-40B4-BE49-F238E27FC236}">
                <a16:creationId xmlns:a16="http://schemas.microsoft.com/office/drawing/2014/main" id="{3B847CDC-5350-4F2D-857A-9B7042249318}"/>
              </a:ext>
            </a:extLst>
          </p:cNvPr>
          <p:cNvSpPr/>
          <p:nvPr>
            <p:custDataLst>
              <p:tags r:id="rId29"/>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2" name="Block Arc 61" hidden="1">
            <a:extLst>
              <a:ext uri="{FF2B5EF4-FFF2-40B4-BE49-F238E27FC236}">
                <a16:creationId xmlns:a16="http://schemas.microsoft.com/office/drawing/2014/main" id="{3AD5CCAF-D5D1-4FEF-ACEA-E1419B3A9CEF}"/>
              </a:ext>
            </a:extLst>
          </p:cNvPr>
          <p:cNvSpPr/>
          <p:nvPr>
            <p:custDataLst>
              <p:tags r:id="rId30"/>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5" name="Block Arc 64" hidden="1">
            <a:extLst>
              <a:ext uri="{FF2B5EF4-FFF2-40B4-BE49-F238E27FC236}">
                <a16:creationId xmlns:a16="http://schemas.microsoft.com/office/drawing/2014/main" id="{9B7269F6-9668-4C7F-AF55-9301EAF382B6}"/>
              </a:ext>
            </a:extLst>
          </p:cNvPr>
          <p:cNvSpPr/>
          <p:nvPr>
            <p:custDataLst>
              <p:tags r:id="rId3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6" name="Block Arc 65" hidden="1">
            <a:extLst>
              <a:ext uri="{FF2B5EF4-FFF2-40B4-BE49-F238E27FC236}">
                <a16:creationId xmlns:a16="http://schemas.microsoft.com/office/drawing/2014/main" id="{8F38B48A-7566-424D-9197-595C777958EA}"/>
              </a:ext>
            </a:extLst>
          </p:cNvPr>
          <p:cNvSpPr/>
          <p:nvPr>
            <p:custDataLst>
              <p:tags r:id="rId3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9" name="Block Arc 68" hidden="1">
            <a:extLst>
              <a:ext uri="{FF2B5EF4-FFF2-40B4-BE49-F238E27FC236}">
                <a16:creationId xmlns:a16="http://schemas.microsoft.com/office/drawing/2014/main" id="{45E93407-AFD6-43A3-B1FB-BA21B80DA0A0}"/>
              </a:ext>
            </a:extLst>
          </p:cNvPr>
          <p:cNvSpPr/>
          <p:nvPr>
            <p:custDataLst>
              <p:tags r:id="rId3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0" name="Block Arc 69" hidden="1">
            <a:extLst>
              <a:ext uri="{FF2B5EF4-FFF2-40B4-BE49-F238E27FC236}">
                <a16:creationId xmlns:a16="http://schemas.microsoft.com/office/drawing/2014/main" id="{127E5F4C-3E5A-4DA9-B56D-A627EF2AFB83}"/>
              </a:ext>
            </a:extLst>
          </p:cNvPr>
          <p:cNvSpPr/>
          <p:nvPr>
            <p:custDataLst>
              <p:tags r:id="rId3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2" name="Block Arc 71" hidden="1">
            <a:extLst>
              <a:ext uri="{FF2B5EF4-FFF2-40B4-BE49-F238E27FC236}">
                <a16:creationId xmlns:a16="http://schemas.microsoft.com/office/drawing/2014/main" id="{159E1B29-2875-4AD5-8CBC-04C905CA0E4F}"/>
              </a:ext>
            </a:extLst>
          </p:cNvPr>
          <p:cNvSpPr/>
          <p:nvPr>
            <p:custDataLst>
              <p:tags r:id="rId3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3" name="Block Arc 72" hidden="1">
            <a:extLst>
              <a:ext uri="{FF2B5EF4-FFF2-40B4-BE49-F238E27FC236}">
                <a16:creationId xmlns:a16="http://schemas.microsoft.com/office/drawing/2014/main" id="{F0B37446-888E-4109-8629-B4A8F7518CD9}"/>
              </a:ext>
            </a:extLst>
          </p:cNvPr>
          <p:cNvSpPr/>
          <p:nvPr>
            <p:custDataLst>
              <p:tags r:id="rId3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4" name="Block Arc 73" hidden="1">
            <a:extLst>
              <a:ext uri="{FF2B5EF4-FFF2-40B4-BE49-F238E27FC236}">
                <a16:creationId xmlns:a16="http://schemas.microsoft.com/office/drawing/2014/main" id="{B5DB7AF2-B7FD-475D-8A4C-65670032F291}"/>
              </a:ext>
            </a:extLst>
          </p:cNvPr>
          <p:cNvSpPr/>
          <p:nvPr>
            <p:custDataLst>
              <p:tags r:id="rId3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6" name="Block Arc 75" hidden="1">
            <a:extLst>
              <a:ext uri="{FF2B5EF4-FFF2-40B4-BE49-F238E27FC236}">
                <a16:creationId xmlns:a16="http://schemas.microsoft.com/office/drawing/2014/main" id="{09053CC4-4BC3-43DF-9F5E-D2E40A5E27AE}"/>
              </a:ext>
            </a:extLst>
          </p:cNvPr>
          <p:cNvSpPr/>
          <p:nvPr>
            <p:custDataLst>
              <p:tags r:id="rId3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7" name="Block Arc 76" hidden="1">
            <a:extLst>
              <a:ext uri="{FF2B5EF4-FFF2-40B4-BE49-F238E27FC236}">
                <a16:creationId xmlns:a16="http://schemas.microsoft.com/office/drawing/2014/main" id="{E4AA8FAB-6CDF-43EB-8CF3-D16331F56B02}"/>
              </a:ext>
            </a:extLst>
          </p:cNvPr>
          <p:cNvSpPr/>
          <p:nvPr>
            <p:custDataLst>
              <p:tags r:id="rId3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8" name="Block Arc 77" hidden="1">
            <a:extLst>
              <a:ext uri="{FF2B5EF4-FFF2-40B4-BE49-F238E27FC236}">
                <a16:creationId xmlns:a16="http://schemas.microsoft.com/office/drawing/2014/main" id="{3950F418-44C1-4685-9ACE-CC2B3268A39F}"/>
              </a:ext>
            </a:extLst>
          </p:cNvPr>
          <p:cNvSpPr/>
          <p:nvPr>
            <p:custDataLst>
              <p:tags r:id="rId4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9" name="Block Arc 78" hidden="1">
            <a:extLst>
              <a:ext uri="{FF2B5EF4-FFF2-40B4-BE49-F238E27FC236}">
                <a16:creationId xmlns:a16="http://schemas.microsoft.com/office/drawing/2014/main" id="{9D52F3FB-E9C9-4A22-8B6E-F9CA99461407}"/>
              </a:ext>
            </a:extLst>
          </p:cNvPr>
          <p:cNvSpPr/>
          <p:nvPr>
            <p:custDataLst>
              <p:tags r:id="rId4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0" name="Block Arc 79" hidden="1">
            <a:extLst>
              <a:ext uri="{FF2B5EF4-FFF2-40B4-BE49-F238E27FC236}">
                <a16:creationId xmlns:a16="http://schemas.microsoft.com/office/drawing/2014/main" id="{7507AA87-81CE-40EC-8667-AB50830C3177}"/>
              </a:ext>
            </a:extLst>
          </p:cNvPr>
          <p:cNvSpPr/>
          <p:nvPr>
            <p:custDataLst>
              <p:tags r:id="rId4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1" name="Block Arc 80" hidden="1">
            <a:extLst>
              <a:ext uri="{FF2B5EF4-FFF2-40B4-BE49-F238E27FC236}">
                <a16:creationId xmlns:a16="http://schemas.microsoft.com/office/drawing/2014/main" id="{E4DDD3D8-A045-4BFC-ADBA-7804EB9D4B5B}"/>
              </a:ext>
            </a:extLst>
          </p:cNvPr>
          <p:cNvSpPr/>
          <p:nvPr>
            <p:custDataLst>
              <p:tags r:id="rId4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2" name="Block Arc 81" hidden="1">
            <a:extLst>
              <a:ext uri="{FF2B5EF4-FFF2-40B4-BE49-F238E27FC236}">
                <a16:creationId xmlns:a16="http://schemas.microsoft.com/office/drawing/2014/main" id="{B7F22FCB-E891-49D5-8BE4-25F3140AD868}"/>
              </a:ext>
            </a:extLst>
          </p:cNvPr>
          <p:cNvSpPr/>
          <p:nvPr>
            <p:custDataLst>
              <p:tags r:id="rId4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97" name="Rectangle 96" hidden="1">
            <a:extLst>
              <a:ext uri="{FF2B5EF4-FFF2-40B4-BE49-F238E27FC236}">
                <a16:creationId xmlns:a16="http://schemas.microsoft.com/office/drawing/2014/main" id="{5DCDD05C-F233-4CD1-BDFF-2D2388751B22}"/>
              </a:ext>
              <a:ext uri="{C183D7F6-B498-43B3-948B-1728B52AA6E4}">
                <adec:decorative xmlns:adec="http://schemas.microsoft.com/office/drawing/2017/decorative" val="1"/>
              </a:ext>
            </a:extLst>
          </p:cNvPr>
          <p:cNvSpPr/>
          <p:nvPr/>
        </p:nvSpPr>
        <p:spPr>
          <a:xfrm>
            <a:off x="3048000" y="3036585"/>
            <a:ext cx="6096000" cy="369332"/>
          </a:xfrm>
          <a:prstGeom prst="rect">
            <a:avLst/>
          </a:prstGeom>
        </p:spPr>
        <p:txBody>
          <a:bodyPr>
            <a:spAutoFit/>
          </a:bodyPr>
          <a:lstStyle/>
          <a:p>
            <a:pPr marL="231775" marR="0" lvl="1" indent="-171450"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tab pos="225425" algn="l"/>
              </a:tabLst>
              <a:defRPr/>
            </a:pPr>
            <a:endParaRPr kumimoji="0" lang="en-IN"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276" name="Rectangle 275">
            <a:extLst>
              <a:ext uri="{FF2B5EF4-FFF2-40B4-BE49-F238E27FC236}">
                <a16:creationId xmlns:a16="http://schemas.microsoft.com/office/drawing/2014/main" id="{38556C6F-319A-4EE2-8E1C-31A30BC7382B}"/>
              </a:ext>
            </a:extLst>
          </p:cNvPr>
          <p:cNvSpPr/>
          <p:nvPr/>
        </p:nvSpPr>
        <p:spPr>
          <a:xfrm>
            <a:off x="71977" y="3327226"/>
            <a:ext cx="711866" cy="68462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High level business strategy</a:t>
            </a:r>
            <a:endParaRPr kumimoji="0" lang="en-IN" sz="950" b="0" i="0" u="none" strike="noStrike" kern="1200" cap="none" spc="0" normalizeH="0" baseline="0" noProof="0">
              <a:ln>
                <a:noFill/>
              </a:ln>
              <a:solidFill>
                <a:prstClr val="black"/>
              </a:solidFill>
              <a:effectLst/>
              <a:uLnTx/>
              <a:uFillTx/>
              <a:latin typeface="Segoe UI"/>
              <a:ea typeface="+mn-ea"/>
              <a:cs typeface="+mn-cs"/>
            </a:endParaRPr>
          </a:p>
        </p:txBody>
      </p:sp>
      <p:sp>
        <p:nvSpPr>
          <p:cNvPr id="278" name="Rectangle 277">
            <a:extLst>
              <a:ext uri="{FF2B5EF4-FFF2-40B4-BE49-F238E27FC236}">
                <a16:creationId xmlns:a16="http://schemas.microsoft.com/office/drawing/2014/main" id="{874F72B9-2D7F-41FD-8069-77C56D8DAFAB}"/>
              </a:ext>
            </a:extLst>
          </p:cNvPr>
          <p:cNvSpPr/>
          <p:nvPr/>
        </p:nvSpPr>
        <p:spPr>
          <a:xfrm>
            <a:off x="786238" y="3327226"/>
            <a:ext cx="711866" cy="68462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Key stakeholder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sign off</a:t>
            </a:r>
            <a:endParaRPr kumimoji="0" lang="en-IN" sz="950" b="0" i="0" u="none" strike="noStrike" kern="1200" cap="none" spc="0" normalizeH="0" baseline="0" noProof="0">
              <a:ln>
                <a:noFill/>
              </a:ln>
              <a:solidFill>
                <a:prstClr val="black"/>
              </a:solidFill>
              <a:effectLst/>
              <a:uLnTx/>
              <a:uFillTx/>
              <a:latin typeface="Segoe UI"/>
              <a:ea typeface="+mn-ea"/>
              <a:cs typeface="+mn-cs"/>
            </a:endParaRPr>
          </a:p>
        </p:txBody>
      </p:sp>
      <p:sp>
        <p:nvSpPr>
          <p:cNvPr id="280" name="Rectangle 279">
            <a:extLst>
              <a:ext uri="{FF2B5EF4-FFF2-40B4-BE49-F238E27FC236}">
                <a16:creationId xmlns:a16="http://schemas.microsoft.com/office/drawing/2014/main" id="{3471A227-4E4A-4AEB-A173-F0B67F174DC3}"/>
              </a:ext>
            </a:extLst>
          </p:cNvPr>
          <p:cNvSpPr/>
          <p:nvPr/>
        </p:nvSpPr>
        <p:spPr>
          <a:xfrm>
            <a:off x="1530754" y="3327226"/>
            <a:ext cx="711866" cy="68462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funding committed </a:t>
            </a:r>
            <a:endParaRPr kumimoji="0" lang="en-IN" sz="950" b="0" i="0" u="none" strike="noStrike" kern="1200" cap="none" spc="0" normalizeH="0" baseline="0" noProof="0">
              <a:ln>
                <a:noFill/>
              </a:ln>
              <a:solidFill>
                <a:prstClr val="black"/>
              </a:solidFill>
              <a:effectLst/>
              <a:uLnTx/>
              <a:uFillTx/>
              <a:latin typeface="Segoe UI"/>
              <a:ea typeface="+mn-ea"/>
              <a:cs typeface="+mn-cs"/>
            </a:endParaRPr>
          </a:p>
        </p:txBody>
      </p:sp>
      <p:sp>
        <p:nvSpPr>
          <p:cNvPr id="281" name="Freeform 16">
            <a:extLst>
              <a:ext uri="{FF2B5EF4-FFF2-40B4-BE49-F238E27FC236}">
                <a16:creationId xmlns:a16="http://schemas.microsoft.com/office/drawing/2014/main" id="{133AB022-284E-4AE4-97BF-FC7E251BE05E}"/>
              </a:ext>
            </a:extLst>
          </p:cNvPr>
          <p:cNvSpPr>
            <a:spLocks/>
          </p:cNvSpPr>
          <p:nvPr/>
        </p:nvSpPr>
        <p:spPr bwMode="auto">
          <a:xfrm>
            <a:off x="1493568" y="5261063"/>
            <a:ext cx="776096" cy="402207"/>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Azure operations partner</a:t>
            </a:r>
          </a:p>
        </p:txBody>
      </p:sp>
      <p:sp>
        <p:nvSpPr>
          <p:cNvPr id="282" name="Rectangle 17">
            <a:extLst>
              <a:ext uri="{FF2B5EF4-FFF2-40B4-BE49-F238E27FC236}">
                <a16:creationId xmlns:a16="http://schemas.microsoft.com/office/drawing/2014/main" id="{C495EE56-58FF-40A9-8480-9DBFEAAE5645}"/>
              </a:ext>
            </a:extLst>
          </p:cNvPr>
          <p:cNvSpPr>
            <a:spLocks noChangeArrowheads="1"/>
          </p:cNvSpPr>
          <p:nvPr/>
        </p:nvSpPr>
        <p:spPr bwMode="auto">
          <a:xfrm>
            <a:off x="1493568" y="4222835"/>
            <a:ext cx="776096" cy="402207"/>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Customer/</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partner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contract</a:t>
            </a:r>
          </a:p>
        </p:txBody>
      </p:sp>
      <p:sp>
        <p:nvSpPr>
          <p:cNvPr id="283" name="Rectangle 18">
            <a:extLst>
              <a:ext uri="{FF2B5EF4-FFF2-40B4-BE49-F238E27FC236}">
                <a16:creationId xmlns:a16="http://schemas.microsoft.com/office/drawing/2014/main" id="{DCC7EF4E-3773-4E14-A2EB-EFF02C624A64}"/>
              </a:ext>
            </a:extLst>
          </p:cNvPr>
          <p:cNvSpPr>
            <a:spLocks noChangeArrowheads="1"/>
          </p:cNvSpPr>
          <p:nvPr/>
        </p:nvSpPr>
        <p:spPr bwMode="auto">
          <a:xfrm>
            <a:off x="1493568" y="4782590"/>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partner</a:t>
            </a:r>
          </a:p>
        </p:txBody>
      </p:sp>
      <p:sp>
        <p:nvSpPr>
          <p:cNvPr id="284" name="TextBox 283">
            <a:extLst>
              <a:ext uri="{FF2B5EF4-FFF2-40B4-BE49-F238E27FC236}">
                <a16:creationId xmlns:a16="http://schemas.microsoft.com/office/drawing/2014/main" id="{E3DA7819-099D-4528-945B-E1A2B6A507DB}"/>
              </a:ext>
            </a:extLst>
          </p:cNvPr>
          <p:cNvSpPr txBox="1"/>
          <p:nvPr/>
        </p:nvSpPr>
        <p:spPr>
          <a:xfrm>
            <a:off x="1526327" y="5810342"/>
            <a:ext cx="711866" cy="564210"/>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factory offering</a:t>
            </a:r>
          </a:p>
        </p:txBody>
      </p:sp>
      <p:sp>
        <p:nvSpPr>
          <p:cNvPr id="285" name="TextBox 284">
            <a:extLst>
              <a:ext uri="{FF2B5EF4-FFF2-40B4-BE49-F238E27FC236}">
                <a16:creationId xmlns:a16="http://schemas.microsoft.com/office/drawing/2014/main" id="{1F37BFB3-A299-4B0B-9219-1AFEC955B3DF}"/>
              </a:ext>
            </a:extLst>
          </p:cNvPr>
          <p:cNvSpPr txBox="1"/>
          <p:nvPr/>
        </p:nvSpPr>
        <p:spPr>
          <a:xfrm>
            <a:off x="2258512" y="5920742"/>
            <a:ext cx="45829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can</a:t>
            </a:r>
          </a:p>
        </p:txBody>
      </p:sp>
      <p:sp>
        <p:nvSpPr>
          <p:cNvPr id="286" name="TextBox 285">
            <a:extLst>
              <a:ext uri="{FF2B5EF4-FFF2-40B4-BE49-F238E27FC236}">
                <a16:creationId xmlns:a16="http://schemas.microsoft.com/office/drawing/2014/main" id="{4370203E-4079-43DC-B43B-4E9CA3F4215C}"/>
              </a:ext>
            </a:extLst>
          </p:cNvPr>
          <p:cNvSpPr txBox="1"/>
          <p:nvPr/>
        </p:nvSpPr>
        <p:spPr>
          <a:xfrm>
            <a:off x="2705673" y="5920742"/>
            <a:ext cx="71186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Assessment</a:t>
            </a:r>
          </a:p>
        </p:txBody>
      </p:sp>
      <p:sp>
        <p:nvSpPr>
          <p:cNvPr id="288" name="Rectangle 17" descr="Pilot applications and VM identification&#10;">
            <a:extLst>
              <a:ext uri="{FF2B5EF4-FFF2-40B4-BE49-F238E27FC236}">
                <a16:creationId xmlns:a16="http://schemas.microsoft.com/office/drawing/2014/main" id="{8108A2C6-82CF-4468-8B87-7CD33A06BE9C}"/>
              </a:ext>
            </a:extLst>
          </p:cNvPr>
          <p:cNvSpPr>
            <a:spLocks noChangeArrowheads="1"/>
          </p:cNvSpPr>
          <p:nvPr/>
        </p:nvSpPr>
        <p:spPr bwMode="auto">
          <a:xfrm>
            <a:off x="3476668" y="4590991"/>
            <a:ext cx="776096" cy="574084"/>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dirty="0">
                <a:ln>
                  <a:noFill/>
                </a:ln>
                <a:solidFill>
                  <a:prstClr val="black"/>
                </a:solidFill>
                <a:effectLst/>
                <a:uLnTx/>
                <a:uFillTx/>
                <a:latin typeface="Segoe UI"/>
                <a:ea typeface="+mn-ea"/>
                <a:cs typeface="+mn-cs"/>
              </a:rPr>
              <a:t>Pilot applications and VM identification</a:t>
            </a:r>
          </a:p>
        </p:txBody>
      </p:sp>
      <p:sp>
        <p:nvSpPr>
          <p:cNvPr id="289" name="Rectangle 18" descr="Migration targeted scope&#10;">
            <a:extLst>
              <a:ext uri="{FF2B5EF4-FFF2-40B4-BE49-F238E27FC236}">
                <a16:creationId xmlns:a16="http://schemas.microsoft.com/office/drawing/2014/main" id="{BF8EB612-D0B7-42AA-A1F4-A6C062EBB23E}"/>
              </a:ext>
            </a:extLst>
          </p:cNvPr>
          <p:cNvSpPr>
            <a:spLocks noChangeArrowheads="1"/>
          </p:cNvSpPr>
          <p:nvPr/>
        </p:nvSpPr>
        <p:spPr bwMode="auto">
          <a:xfrm>
            <a:off x="3477766" y="5257182"/>
            <a:ext cx="769114" cy="435505"/>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dirty="0">
                <a:ln>
                  <a:noFill/>
                </a:ln>
                <a:solidFill>
                  <a:prstClr val="black"/>
                </a:solidFill>
                <a:effectLst/>
                <a:uLnTx/>
                <a:uFillTx/>
                <a:latin typeface="Segoe UI"/>
                <a:ea typeface="+mn-ea"/>
                <a:cs typeface="+mn-cs"/>
              </a:rPr>
              <a:t>Migration targeted scope</a:t>
            </a:r>
          </a:p>
        </p:txBody>
      </p:sp>
      <p:sp>
        <p:nvSpPr>
          <p:cNvPr id="295" name="Rectangle 294" descr="Project management resources&#10;">
            <a:extLst>
              <a:ext uri="{FF2B5EF4-FFF2-40B4-BE49-F238E27FC236}">
                <a16:creationId xmlns:a16="http://schemas.microsoft.com/office/drawing/2014/main" id="{FEA16CD2-DB21-4698-94DD-B780015F3164}"/>
              </a:ext>
            </a:extLst>
          </p:cNvPr>
          <p:cNvSpPr/>
          <p:nvPr/>
        </p:nvSpPr>
        <p:spPr>
          <a:xfrm>
            <a:off x="3476667" y="3168161"/>
            <a:ext cx="776096" cy="469526"/>
          </a:xfrm>
          <a:prstGeom prst="rect">
            <a:avLst/>
          </a:prstGeom>
          <a:solidFill>
            <a:schemeClr val="accent3"/>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dirty="0">
                <a:ln>
                  <a:noFill/>
                </a:ln>
                <a:solidFill>
                  <a:prstClr val="black"/>
                </a:solidFill>
                <a:effectLst/>
                <a:uLnTx/>
                <a:uFillTx/>
                <a:latin typeface="Segoe UI"/>
                <a:ea typeface="+mn-ea"/>
                <a:cs typeface="+mn-cs"/>
              </a:rPr>
              <a:t>Project management resources</a:t>
            </a:r>
          </a:p>
        </p:txBody>
      </p:sp>
      <p:sp>
        <p:nvSpPr>
          <p:cNvPr id="296" name="Rectangle 295">
            <a:extLst>
              <a:ext uri="{FF2B5EF4-FFF2-40B4-BE49-F238E27FC236}">
                <a16:creationId xmlns:a16="http://schemas.microsoft.com/office/drawing/2014/main" id="{BBC45C29-5EA5-4130-998D-A9662FC686C8}"/>
              </a:ext>
            </a:extLst>
          </p:cNvPr>
          <p:cNvSpPr/>
          <p:nvPr/>
        </p:nvSpPr>
        <p:spPr>
          <a:xfrm>
            <a:off x="3476668" y="2795362"/>
            <a:ext cx="776096"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Technical resources</a:t>
            </a:r>
          </a:p>
        </p:txBody>
      </p:sp>
      <p:sp>
        <p:nvSpPr>
          <p:cNvPr id="297" name="Rectangle 296">
            <a:extLst>
              <a:ext uri="{FF2B5EF4-FFF2-40B4-BE49-F238E27FC236}">
                <a16:creationId xmlns:a16="http://schemas.microsoft.com/office/drawing/2014/main" id="{0593FBB1-9D1D-4EE9-995D-E6C48F5F85AC}"/>
              </a:ext>
            </a:extLst>
          </p:cNvPr>
          <p:cNvSpPr/>
          <p:nvPr/>
        </p:nvSpPr>
        <p:spPr>
          <a:xfrm>
            <a:off x="3476668" y="2500703"/>
            <a:ext cx="776096" cy="291765"/>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plan</a:t>
            </a:r>
          </a:p>
        </p:txBody>
      </p:sp>
      <p:sp>
        <p:nvSpPr>
          <p:cNvPr id="304" name="Rectangle 303">
            <a:extLst>
              <a:ext uri="{FF2B5EF4-FFF2-40B4-BE49-F238E27FC236}">
                <a16:creationId xmlns:a16="http://schemas.microsoft.com/office/drawing/2014/main" id="{08AAD164-0429-4293-89B1-0517D6D19DE6}"/>
              </a:ext>
            </a:extLst>
          </p:cNvPr>
          <p:cNvSpPr/>
          <p:nvPr/>
        </p:nvSpPr>
        <p:spPr>
          <a:xfrm>
            <a:off x="3436240" y="1795898"/>
            <a:ext cx="857223" cy="59134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pecific migration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workloads committed</a:t>
            </a:r>
          </a:p>
        </p:txBody>
      </p:sp>
      <p:sp>
        <p:nvSpPr>
          <p:cNvPr id="305" name="Rectangle 304">
            <a:extLst>
              <a:ext uri="{FF2B5EF4-FFF2-40B4-BE49-F238E27FC236}">
                <a16:creationId xmlns:a16="http://schemas.microsoft.com/office/drawing/2014/main" id="{F67A5BD9-7A0C-4820-8549-67CACE929823}"/>
              </a:ext>
            </a:extLst>
          </p:cNvPr>
          <p:cNvSpPr/>
          <p:nvPr/>
        </p:nvSpPr>
        <p:spPr>
          <a:xfrm>
            <a:off x="4335784" y="1766081"/>
            <a:ext cx="711866" cy="59134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Azure Foundations</a:t>
            </a:r>
          </a:p>
        </p:txBody>
      </p:sp>
      <p:sp>
        <p:nvSpPr>
          <p:cNvPr id="306" name="Rectangle 305">
            <a:extLst>
              <a:ext uri="{FF2B5EF4-FFF2-40B4-BE49-F238E27FC236}">
                <a16:creationId xmlns:a16="http://schemas.microsoft.com/office/drawing/2014/main" id="{C4326E40-C1B4-4F18-A286-1F8B2D0C6D97}"/>
              </a:ext>
            </a:extLst>
          </p:cNvPr>
          <p:cNvSpPr/>
          <p:nvPr/>
        </p:nvSpPr>
        <p:spPr>
          <a:xfrm>
            <a:off x="5097633" y="1766081"/>
            <a:ext cx="711866" cy="59134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training</a:t>
            </a:r>
          </a:p>
        </p:txBody>
      </p:sp>
      <p:sp>
        <p:nvSpPr>
          <p:cNvPr id="307" name="Rectangle 306">
            <a:extLst>
              <a:ext uri="{FF2B5EF4-FFF2-40B4-BE49-F238E27FC236}">
                <a16:creationId xmlns:a16="http://schemas.microsoft.com/office/drawing/2014/main" id="{29563319-4C88-47EA-8556-EEA002B8456F}"/>
              </a:ext>
            </a:extLst>
          </p:cNvPr>
          <p:cNvSpPr/>
          <p:nvPr/>
        </p:nvSpPr>
        <p:spPr>
          <a:xfrm>
            <a:off x="5549700" y="2267931"/>
            <a:ext cx="786516"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30" normalizeH="0" baseline="0" noProof="0">
                <a:ln>
                  <a:noFill/>
                </a:ln>
                <a:solidFill>
                  <a:prstClr val="black"/>
                </a:solidFill>
                <a:effectLst/>
                <a:uLnTx/>
                <a:uFillTx/>
                <a:latin typeface="Segoe UI"/>
                <a:ea typeface="+mn-ea"/>
                <a:cs typeface="+mn-cs"/>
              </a:rPr>
              <a:t>Azure administration</a:t>
            </a:r>
          </a:p>
        </p:txBody>
      </p:sp>
      <p:sp>
        <p:nvSpPr>
          <p:cNvPr id="308" name="Rectangle 307" descr="Cloud Strategy&#10;Team In &#10;Place (CDE)&#10;">
            <a:extLst>
              <a:ext uri="{FF2B5EF4-FFF2-40B4-BE49-F238E27FC236}">
                <a16:creationId xmlns:a16="http://schemas.microsoft.com/office/drawing/2014/main" id="{FE402A5B-9BEF-419B-97E5-03D434D66357}"/>
              </a:ext>
            </a:extLst>
          </p:cNvPr>
          <p:cNvSpPr/>
          <p:nvPr/>
        </p:nvSpPr>
        <p:spPr>
          <a:xfrm>
            <a:off x="5564979" y="2685561"/>
            <a:ext cx="776096" cy="586566"/>
          </a:xfrm>
          <a:prstGeom prst="rect">
            <a:avLst/>
          </a:prstGeom>
          <a:no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dirty="0">
                <a:ln>
                  <a:noFill/>
                </a:ln>
                <a:solidFill>
                  <a:prstClr val="black"/>
                </a:solidFill>
                <a:effectLst/>
                <a:uLnTx/>
                <a:uFillTx/>
                <a:latin typeface="Segoe UI"/>
                <a:ea typeface="+mn-ea"/>
                <a:cs typeface="+mn-cs"/>
              </a:rPr>
              <a:t>Cloud Strategy</a:t>
            </a:r>
            <a:br>
              <a:rPr kumimoji="0" lang="en-US" sz="950" b="0" i="0" u="none" strike="noStrike" kern="1200" cap="none" spc="0" normalizeH="0" baseline="0" noProof="0" dirty="0">
                <a:ln>
                  <a:noFill/>
                </a:ln>
                <a:solidFill>
                  <a:prstClr val="black"/>
                </a:solidFill>
                <a:effectLst/>
                <a:uLnTx/>
                <a:uFillTx/>
                <a:latin typeface="Segoe UI"/>
                <a:ea typeface="+mn-ea"/>
                <a:cs typeface="+mn-cs"/>
              </a:rPr>
            </a:br>
            <a:r>
              <a:rPr kumimoji="0" lang="en-US" sz="950" b="0" i="0" u="none" strike="noStrike" kern="1200" cap="none" spc="0" normalizeH="0" baseline="0" noProof="0" dirty="0">
                <a:ln>
                  <a:noFill/>
                </a:ln>
                <a:solidFill>
                  <a:prstClr val="black"/>
                </a:solidFill>
                <a:effectLst/>
                <a:uLnTx/>
                <a:uFillTx/>
                <a:latin typeface="Segoe UI"/>
                <a:ea typeface="+mn-ea"/>
                <a:cs typeface="+mn-cs"/>
              </a:rPr>
              <a:t>Team In </a:t>
            </a:r>
            <a:br>
              <a:rPr kumimoji="0" lang="en-US" sz="950" b="0" i="0" u="none" strike="noStrike" kern="1200" cap="none" spc="0" normalizeH="0" baseline="0" noProof="0" dirty="0">
                <a:ln>
                  <a:noFill/>
                </a:ln>
                <a:solidFill>
                  <a:prstClr val="black"/>
                </a:solidFill>
                <a:effectLst/>
                <a:uLnTx/>
                <a:uFillTx/>
                <a:latin typeface="Segoe UI"/>
                <a:ea typeface="+mn-ea"/>
                <a:cs typeface="+mn-cs"/>
              </a:rPr>
            </a:br>
            <a:r>
              <a:rPr kumimoji="0" lang="en-US" sz="950" b="0" i="0" u="none" strike="noStrike" kern="1200" cap="none" spc="0" normalizeH="0" baseline="0" noProof="0" dirty="0">
                <a:ln>
                  <a:noFill/>
                </a:ln>
                <a:solidFill>
                  <a:prstClr val="black"/>
                </a:solidFill>
                <a:effectLst/>
                <a:uLnTx/>
                <a:uFillTx/>
                <a:latin typeface="Segoe UI"/>
                <a:ea typeface="+mn-ea"/>
                <a:cs typeface="+mn-cs"/>
              </a:rPr>
              <a:t>Place (CDE)</a:t>
            </a:r>
          </a:p>
        </p:txBody>
      </p:sp>
      <p:sp>
        <p:nvSpPr>
          <p:cNvPr id="309" name="Rectangle 308">
            <a:extLst>
              <a:ext uri="{FF2B5EF4-FFF2-40B4-BE49-F238E27FC236}">
                <a16:creationId xmlns:a16="http://schemas.microsoft.com/office/drawing/2014/main" id="{E23ABFC0-0D2D-4BF7-B93C-C206FCF17DA7}"/>
              </a:ext>
            </a:extLst>
          </p:cNvPr>
          <p:cNvSpPr/>
          <p:nvPr/>
        </p:nvSpPr>
        <p:spPr>
          <a:xfrm>
            <a:off x="5555040" y="3312678"/>
            <a:ext cx="776096"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Subscription design</a:t>
            </a:r>
          </a:p>
        </p:txBody>
      </p:sp>
      <p:sp>
        <p:nvSpPr>
          <p:cNvPr id="310" name="Rectangle 309">
            <a:extLst>
              <a:ext uri="{FF2B5EF4-FFF2-40B4-BE49-F238E27FC236}">
                <a16:creationId xmlns:a16="http://schemas.microsoft.com/office/drawing/2014/main" id="{B41F77CE-E336-46B4-AD12-E301AE99F976}"/>
              </a:ext>
            </a:extLst>
          </p:cNvPr>
          <p:cNvSpPr/>
          <p:nvPr/>
        </p:nvSpPr>
        <p:spPr>
          <a:xfrm>
            <a:off x="5555040" y="3715785"/>
            <a:ext cx="776096" cy="256136"/>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Governance</a:t>
            </a:r>
          </a:p>
        </p:txBody>
      </p:sp>
      <p:sp>
        <p:nvSpPr>
          <p:cNvPr id="311" name="Rectangle 310">
            <a:extLst>
              <a:ext uri="{FF2B5EF4-FFF2-40B4-BE49-F238E27FC236}">
                <a16:creationId xmlns:a16="http://schemas.microsoft.com/office/drawing/2014/main" id="{A70905CA-64C0-433B-82A9-F6BFC6DC309D}"/>
              </a:ext>
            </a:extLst>
          </p:cNvPr>
          <p:cNvSpPr/>
          <p:nvPr/>
        </p:nvSpPr>
        <p:spPr>
          <a:xfrm>
            <a:off x="5555040" y="4014271"/>
            <a:ext cx="776096" cy="27149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Networking</a:t>
            </a:r>
          </a:p>
        </p:txBody>
      </p:sp>
      <p:sp>
        <p:nvSpPr>
          <p:cNvPr id="312" name="Rectangle 17">
            <a:extLst>
              <a:ext uri="{FF2B5EF4-FFF2-40B4-BE49-F238E27FC236}">
                <a16:creationId xmlns:a16="http://schemas.microsoft.com/office/drawing/2014/main" id="{A99BFD94-E4E9-4463-9F03-3B2DF6DEED03}"/>
              </a:ext>
            </a:extLst>
          </p:cNvPr>
          <p:cNvSpPr>
            <a:spLocks noChangeArrowheads="1"/>
          </p:cNvSpPr>
          <p:nvPr/>
        </p:nvSpPr>
        <p:spPr bwMode="auto">
          <a:xfrm>
            <a:off x="5555040" y="4342743"/>
            <a:ext cx="776096" cy="290490"/>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Identity</a:t>
            </a:r>
          </a:p>
        </p:txBody>
      </p:sp>
      <p:sp>
        <p:nvSpPr>
          <p:cNvPr id="314" name="TextBox 313">
            <a:extLst>
              <a:ext uri="{FF2B5EF4-FFF2-40B4-BE49-F238E27FC236}">
                <a16:creationId xmlns:a16="http://schemas.microsoft.com/office/drawing/2014/main" id="{894FC6EC-DD68-4208-9D5E-C9459EF6D990}"/>
              </a:ext>
            </a:extLst>
          </p:cNvPr>
          <p:cNvSpPr txBox="1"/>
          <p:nvPr/>
        </p:nvSpPr>
        <p:spPr>
          <a:xfrm>
            <a:off x="6980983" y="5073512"/>
            <a:ext cx="618941"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execution</a:t>
            </a:r>
          </a:p>
        </p:txBody>
      </p:sp>
      <p:sp>
        <p:nvSpPr>
          <p:cNvPr id="315" name="Freeform 16">
            <a:extLst>
              <a:ext uri="{FF2B5EF4-FFF2-40B4-BE49-F238E27FC236}">
                <a16:creationId xmlns:a16="http://schemas.microsoft.com/office/drawing/2014/main" id="{290F6572-8E53-4630-A670-759D6B9E3016}"/>
              </a:ext>
            </a:extLst>
          </p:cNvPr>
          <p:cNvSpPr>
            <a:spLocks/>
          </p:cNvSpPr>
          <p:nvPr/>
        </p:nvSpPr>
        <p:spPr bwMode="auto">
          <a:xfrm>
            <a:off x="6335504" y="5079088"/>
            <a:ext cx="543991" cy="369332"/>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e2e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test</a:t>
            </a:r>
          </a:p>
        </p:txBody>
      </p:sp>
      <p:sp>
        <p:nvSpPr>
          <p:cNvPr id="316" name="TextBox 315">
            <a:extLst>
              <a:ext uri="{FF2B5EF4-FFF2-40B4-BE49-F238E27FC236}">
                <a16:creationId xmlns:a16="http://schemas.microsoft.com/office/drawing/2014/main" id="{8821C4A3-D89E-4A98-A39C-71AA6507CC51}"/>
              </a:ext>
            </a:extLst>
          </p:cNvPr>
          <p:cNvSpPr txBox="1"/>
          <p:nvPr/>
        </p:nvSpPr>
        <p:spPr>
          <a:xfrm>
            <a:off x="7695862" y="5073512"/>
            <a:ext cx="672949"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support</a:t>
            </a:r>
          </a:p>
        </p:txBody>
      </p:sp>
      <p:sp>
        <p:nvSpPr>
          <p:cNvPr id="321" name="TextBox 320" descr="Shared responsibility &#10;model understood&#10;">
            <a:extLst>
              <a:ext uri="{FF2B5EF4-FFF2-40B4-BE49-F238E27FC236}">
                <a16:creationId xmlns:a16="http://schemas.microsoft.com/office/drawing/2014/main" id="{FBBF9499-5ED7-4027-A093-7CF1452430AF}"/>
              </a:ext>
            </a:extLst>
          </p:cNvPr>
          <p:cNvSpPr txBox="1"/>
          <p:nvPr/>
        </p:nvSpPr>
        <p:spPr>
          <a:xfrm>
            <a:off x="8136806" y="4416825"/>
            <a:ext cx="776096" cy="518159"/>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dirty="0">
                <a:ln>
                  <a:noFill/>
                </a:ln>
                <a:solidFill>
                  <a:prstClr val="black"/>
                </a:solidFill>
                <a:effectLst/>
                <a:uLnTx/>
                <a:uFillTx/>
                <a:latin typeface="Segoe UI"/>
                <a:ea typeface="+mn-ea"/>
                <a:cs typeface="+mn-cs"/>
              </a:rPr>
              <a:t>Shared responsibility </a:t>
            </a:r>
            <a:br>
              <a:rPr kumimoji="0" lang="en-US" sz="950" b="0" i="0" u="none" strike="noStrike" kern="1200" cap="none" spc="0" normalizeH="0" baseline="0" noProof="0" dirty="0">
                <a:ln>
                  <a:noFill/>
                </a:ln>
                <a:solidFill>
                  <a:prstClr val="black"/>
                </a:solidFill>
                <a:effectLst/>
                <a:uLnTx/>
                <a:uFillTx/>
                <a:latin typeface="Segoe UI"/>
                <a:ea typeface="+mn-ea"/>
                <a:cs typeface="+mn-cs"/>
              </a:rPr>
            </a:br>
            <a:r>
              <a:rPr kumimoji="0" lang="en-US" sz="950" b="0" i="0" u="none" strike="noStrike" kern="1200" cap="none" spc="0" normalizeH="0" baseline="0" noProof="0" dirty="0">
                <a:ln>
                  <a:noFill/>
                </a:ln>
                <a:solidFill>
                  <a:prstClr val="black"/>
                </a:solidFill>
                <a:effectLst/>
                <a:uLnTx/>
                <a:uFillTx/>
                <a:latin typeface="Segoe UI"/>
                <a:ea typeface="+mn-ea"/>
                <a:cs typeface="+mn-cs"/>
              </a:rPr>
              <a:t>model understood</a:t>
            </a:r>
          </a:p>
        </p:txBody>
      </p:sp>
      <p:sp>
        <p:nvSpPr>
          <p:cNvPr id="322" name="TextBox 321">
            <a:extLst>
              <a:ext uri="{FF2B5EF4-FFF2-40B4-BE49-F238E27FC236}">
                <a16:creationId xmlns:a16="http://schemas.microsoft.com/office/drawing/2014/main" id="{A2977D9B-F1BE-43FA-A06D-76025860ECA3}"/>
              </a:ext>
            </a:extLst>
          </p:cNvPr>
          <p:cNvSpPr txBox="1"/>
          <p:nvPr/>
        </p:nvSpPr>
        <p:spPr>
          <a:xfrm>
            <a:off x="8138808" y="3967791"/>
            <a:ext cx="77609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ecurity RACI</a:t>
            </a:r>
          </a:p>
        </p:txBody>
      </p:sp>
      <p:sp>
        <p:nvSpPr>
          <p:cNvPr id="327" name="Freeform 16">
            <a:extLst>
              <a:ext uri="{FF2B5EF4-FFF2-40B4-BE49-F238E27FC236}">
                <a16:creationId xmlns:a16="http://schemas.microsoft.com/office/drawing/2014/main" id="{37749214-95FD-4CD4-A562-332D9BAF7A57}"/>
              </a:ext>
            </a:extLst>
          </p:cNvPr>
          <p:cNvSpPr>
            <a:spLocks/>
          </p:cNvSpPr>
          <p:nvPr/>
        </p:nvSpPr>
        <p:spPr bwMode="auto">
          <a:xfrm>
            <a:off x="8136806" y="3525051"/>
            <a:ext cx="776096" cy="369332"/>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solidFill>
            <a:srgbClr val="88CBFF"/>
          </a:solid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Identity and access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management</a:t>
            </a:r>
          </a:p>
        </p:txBody>
      </p:sp>
      <p:sp>
        <p:nvSpPr>
          <p:cNvPr id="329" name="Rectangle 18">
            <a:extLst>
              <a:ext uri="{FF2B5EF4-FFF2-40B4-BE49-F238E27FC236}">
                <a16:creationId xmlns:a16="http://schemas.microsoft.com/office/drawing/2014/main" id="{B1AF7B99-E958-4741-BD1B-DE998CB98BD0}"/>
              </a:ext>
            </a:extLst>
          </p:cNvPr>
          <p:cNvSpPr>
            <a:spLocks noChangeArrowheads="1"/>
          </p:cNvSpPr>
          <p:nvPr/>
        </p:nvSpPr>
        <p:spPr bwMode="auto">
          <a:xfrm>
            <a:off x="8148101" y="3079117"/>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Logging and monitoring</a:t>
            </a:r>
          </a:p>
        </p:txBody>
      </p:sp>
      <p:sp>
        <p:nvSpPr>
          <p:cNvPr id="367" name="Rectangle 366">
            <a:extLst>
              <a:ext uri="{FF2B5EF4-FFF2-40B4-BE49-F238E27FC236}">
                <a16:creationId xmlns:a16="http://schemas.microsoft.com/office/drawing/2014/main" id="{8B501E7F-5C53-471A-AE50-D923CDC8B9BC}"/>
              </a:ext>
            </a:extLst>
          </p:cNvPr>
          <p:cNvSpPr/>
          <p:nvPr/>
        </p:nvSpPr>
        <p:spPr>
          <a:xfrm>
            <a:off x="8915856" y="2469583"/>
            <a:ext cx="672949"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Data protection</a:t>
            </a:r>
          </a:p>
        </p:txBody>
      </p:sp>
      <p:sp>
        <p:nvSpPr>
          <p:cNvPr id="369" name="Rectangle 368">
            <a:extLst>
              <a:ext uri="{FF2B5EF4-FFF2-40B4-BE49-F238E27FC236}">
                <a16:creationId xmlns:a16="http://schemas.microsoft.com/office/drawing/2014/main" id="{6AFD71C3-ABBD-4B77-9370-960925BEFE6F}"/>
              </a:ext>
            </a:extLst>
          </p:cNvPr>
          <p:cNvSpPr/>
          <p:nvPr/>
        </p:nvSpPr>
        <p:spPr>
          <a:xfrm>
            <a:off x="9603992" y="2469583"/>
            <a:ext cx="672949"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Incident response</a:t>
            </a:r>
          </a:p>
        </p:txBody>
      </p:sp>
      <p:sp>
        <p:nvSpPr>
          <p:cNvPr id="374" name="Rectangle 373">
            <a:extLst>
              <a:ext uri="{FF2B5EF4-FFF2-40B4-BE49-F238E27FC236}">
                <a16:creationId xmlns:a16="http://schemas.microsoft.com/office/drawing/2014/main" id="{D6A8D428-7104-4314-B87E-E2FCD8BEB5AC}"/>
              </a:ext>
            </a:extLst>
          </p:cNvPr>
          <p:cNvSpPr/>
          <p:nvPr/>
        </p:nvSpPr>
        <p:spPr>
          <a:xfrm>
            <a:off x="10317893" y="3110743"/>
            <a:ext cx="776096" cy="212579"/>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OS patching</a:t>
            </a:r>
          </a:p>
        </p:txBody>
      </p:sp>
      <p:sp>
        <p:nvSpPr>
          <p:cNvPr id="375" name="Rectangle 374">
            <a:extLst>
              <a:ext uri="{FF2B5EF4-FFF2-40B4-BE49-F238E27FC236}">
                <a16:creationId xmlns:a16="http://schemas.microsoft.com/office/drawing/2014/main" id="{1DFBF6A3-2DF2-4F27-B983-5F119306E561}"/>
              </a:ext>
            </a:extLst>
          </p:cNvPr>
          <p:cNvSpPr/>
          <p:nvPr/>
        </p:nvSpPr>
        <p:spPr>
          <a:xfrm>
            <a:off x="10317893" y="3371361"/>
            <a:ext cx="776096" cy="24003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Monitoring</a:t>
            </a:r>
          </a:p>
        </p:txBody>
      </p:sp>
      <p:sp>
        <p:nvSpPr>
          <p:cNvPr id="376" name="Rectangle 17">
            <a:extLst>
              <a:ext uri="{FF2B5EF4-FFF2-40B4-BE49-F238E27FC236}">
                <a16:creationId xmlns:a16="http://schemas.microsoft.com/office/drawing/2014/main" id="{A5DA51A3-2CC7-4554-867C-F4AC90DD33CE}"/>
              </a:ext>
            </a:extLst>
          </p:cNvPr>
          <p:cNvSpPr>
            <a:spLocks noChangeArrowheads="1"/>
          </p:cNvSpPr>
          <p:nvPr/>
        </p:nvSpPr>
        <p:spPr bwMode="auto">
          <a:xfrm>
            <a:off x="10317893" y="3651611"/>
            <a:ext cx="776096" cy="302675"/>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Backup</a:t>
            </a:r>
          </a:p>
        </p:txBody>
      </p:sp>
      <p:sp>
        <p:nvSpPr>
          <p:cNvPr id="380" name="Freeform 16" descr="Configuration and change management&#10;">
            <a:extLst>
              <a:ext uri="{FF2B5EF4-FFF2-40B4-BE49-F238E27FC236}">
                <a16:creationId xmlns:a16="http://schemas.microsoft.com/office/drawing/2014/main" id="{D1ADF4B1-7FA9-4312-9703-3267FCF0A695}"/>
              </a:ext>
            </a:extLst>
          </p:cNvPr>
          <p:cNvSpPr>
            <a:spLocks/>
          </p:cNvSpPr>
          <p:nvPr/>
        </p:nvSpPr>
        <p:spPr bwMode="auto">
          <a:xfrm>
            <a:off x="10317893" y="4391778"/>
            <a:ext cx="776096" cy="417720"/>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dirty="0">
                <a:ln>
                  <a:noFill/>
                </a:ln>
                <a:solidFill>
                  <a:prstClr val="white"/>
                </a:solidFill>
                <a:effectLst/>
                <a:uLnTx/>
                <a:uFillTx/>
                <a:latin typeface="Segoe UI"/>
                <a:ea typeface="+mn-ea"/>
                <a:cs typeface="+mn-cs"/>
              </a:rPr>
              <a:t>Configuration and change management</a:t>
            </a:r>
          </a:p>
        </p:txBody>
      </p:sp>
      <p:sp>
        <p:nvSpPr>
          <p:cNvPr id="381" name="Rectangle 18">
            <a:extLst>
              <a:ext uri="{FF2B5EF4-FFF2-40B4-BE49-F238E27FC236}">
                <a16:creationId xmlns:a16="http://schemas.microsoft.com/office/drawing/2014/main" id="{C6FD9A1A-5925-421D-B5C5-7F4698B235BE}"/>
              </a:ext>
            </a:extLst>
          </p:cNvPr>
          <p:cNvSpPr>
            <a:spLocks noChangeArrowheads="1"/>
          </p:cNvSpPr>
          <p:nvPr/>
        </p:nvSpPr>
        <p:spPr bwMode="auto">
          <a:xfrm>
            <a:off x="10317893" y="3964156"/>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Disaster recovery</a:t>
            </a:r>
          </a:p>
        </p:txBody>
      </p:sp>
      <p:sp>
        <p:nvSpPr>
          <p:cNvPr id="383" name="TextBox 382">
            <a:extLst>
              <a:ext uri="{FF2B5EF4-FFF2-40B4-BE49-F238E27FC236}">
                <a16:creationId xmlns:a16="http://schemas.microsoft.com/office/drawing/2014/main" id="{3799B0A2-40CF-4355-8174-D36385EAECBB}"/>
              </a:ext>
            </a:extLst>
          </p:cNvPr>
          <p:cNvSpPr txBox="1"/>
          <p:nvPr/>
        </p:nvSpPr>
        <p:spPr>
          <a:xfrm>
            <a:off x="10318160" y="5078299"/>
            <a:ext cx="77609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DevOps and automation</a:t>
            </a:r>
          </a:p>
        </p:txBody>
      </p:sp>
      <p:sp>
        <p:nvSpPr>
          <p:cNvPr id="387" name="TextBox 386" descr="Cloud operational processes and run books&#10;">
            <a:extLst>
              <a:ext uri="{FF2B5EF4-FFF2-40B4-BE49-F238E27FC236}">
                <a16:creationId xmlns:a16="http://schemas.microsoft.com/office/drawing/2014/main" id="{080519B9-9C87-4D92-A7DE-CDD300A9BA5C}"/>
              </a:ext>
            </a:extLst>
          </p:cNvPr>
          <p:cNvSpPr txBox="1"/>
          <p:nvPr/>
        </p:nvSpPr>
        <p:spPr>
          <a:xfrm>
            <a:off x="11188090" y="4934985"/>
            <a:ext cx="962127" cy="628130"/>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dirty="0">
                <a:ln>
                  <a:noFill/>
                </a:ln>
                <a:solidFill>
                  <a:prstClr val="white"/>
                </a:solidFill>
                <a:effectLst/>
                <a:uLnTx/>
                <a:uFillTx/>
                <a:latin typeface="Segoe UI"/>
                <a:ea typeface="+mn-ea"/>
                <a:cs typeface="+mn-cs"/>
              </a:rPr>
              <a:t>Cloud operational processes and run books</a:t>
            </a:r>
          </a:p>
        </p:txBody>
      </p:sp>
      <p:sp>
        <p:nvSpPr>
          <p:cNvPr id="684" name="Rectangle 683">
            <a:extLst>
              <a:ext uri="{FF2B5EF4-FFF2-40B4-BE49-F238E27FC236}">
                <a16:creationId xmlns:a16="http://schemas.microsoft.com/office/drawing/2014/main" id="{824393BB-CCE2-41C3-9372-E1EF464F8963}"/>
              </a:ext>
            </a:extLst>
          </p:cNvPr>
          <p:cNvSpPr/>
          <p:nvPr/>
        </p:nvSpPr>
        <p:spPr>
          <a:xfrm>
            <a:off x="419886" y="2480501"/>
            <a:ext cx="159355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Business strategy</a:t>
            </a:r>
            <a:endParaRPr kumimoji="0" lang="en-US" sz="1400" b="0" i="0" u="none" strike="noStrike" kern="1200" cap="none" spc="0" normalizeH="0" baseline="0" noProof="0">
              <a:ln>
                <a:noFill/>
              </a:ln>
              <a:solidFill>
                <a:prstClr val="white"/>
              </a:solidFill>
              <a:effectLst/>
              <a:uLnTx/>
              <a:uFillTx/>
              <a:latin typeface="Segoe UI Semibold"/>
              <a:ea typeface="Times New Roman" panose="02020603050405020304" pitchFamily="18" charset="0"/>
              <a:cs typeface="+mn-cs"/>
            </a:endParaRPr>
          </a:p>
        </p:txBody>
      </p:sp>
      <p:grpSp>
        <p:nvGrpSpPr>
          <p:cNvPr id="7" name="Group 6">
            <a:extLst>
              <a:ext uri="{FF2B5EF4-FFF2-40B4-BE49-F238E27FC236}">
                <a16:creationId xmlns:a16="http://schemas.microsoft.com/office/drawing/2014/main" id="{C45611C0-3F50-4282-A640-9F3547F2675F}"/>
              </a:ext>
              <a:ext uri="{C183D7F6-B498-43B3-948B-1728B52AA6E4}">
                <adec:decorative xmlns:adec="http://schemas.microsoft.com/office/drawing/2017/decorative" val="1"/>
              </a:ext>
            </a:extLst>
          </p:cNvPr>
          <p:cNvGrpSpPr/>
          <p:nvPr/>
        </p:nvGrpSpPr>
        <p:grpSpPr>
          <a:xfrm>
            <a:off x="559625" y="2830073"/>
            <a:ext cx="197618" cy="453304"/>
            <a:chOff x="559625" y="2541842"/>
            <a:chExt cx="197618" cy="453304"/>
          </a:xfrm>
        </p:grpSpPr>
        <p:sp>
          <p:nvSpPr>
            <p:cNvPr id="685" name="Diamond 684">
              <a:extLst>
                <a:ext uri="{FF2B5EF4-FFF2-40B4-BE49-F238E27FC236}">
                  <a16:creationId xmlns:a16="http://schemas.microsoft.com/office/drawing/2014/main" id="{4DE07F16-4D98-4CD8-8406-2ACBEC3B4086}"/>
                </a:ext>
              </a:extLst>
            </p:cNvPr>
            <p:cNvSpPr/>
            <p:nvPr/>
          </p:nvSpPr>
          <p:spPr>
            <a:xfrm>
              <a:off x="559625" y="2541842"/>
              <a:ext cx="197618" cy="183974"/>
            </a:xfrm>
            <a:prstGeom prst="diamond">
              <a:avLst/>
            </a:prstGeom>
            <a:solidFill>
              <a:schemeClr val="bg1">
                <a:lumMod val="9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6" name="Straight Connector 685">
              <a:extLst>
                <a:ext uri="{FF2B5EF4-FFF2-40B4-BE49-F238E27FC236}">
                  <a16:creationId xmlns:a16="http://schemas.microsoft.com/office/drawing/2014/main" id="{9DD5EB0D-0CE7-466B-966E-E78357269686}"/>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ACF631FF-D51E-4D19-8391-0236690CCEB6}"/>
              </a:ext>
              <a:ext uri="{C183D7F6-B498-43B3-948B-1728B52AA6E4}">
                <adec:decorative xmlns:adec="http://schemas.microsoft.com/office/drawing/2017/decorative" val="1"/>
              </a:ext>
            </a:extLst>
          </p:cNvPr>
          <p:cNvGrpSpPr/>
          <p:nvPr/>
        </p:nvGrpSpPr>
        <p:grpSpPr>
          <a:xfrm rot="16200000">
            <a:off x="1153985" y="4841753"/>
            <a:ext cx="197618" cy="453304"/>
            <a:chOff x="559625" y="2541842"/>
            <a:chExt cx="197618" cy="453304"/>
          </a:xfrm>
        </p:grpSpPr>
        <p:sp>
          <p:nvSpPr>
            <p:cNvPr id="688" name="Diamond 687">
              <a:extLst>
                <a:ext uri="{FF2B5EF4-FFF2-40B4-BE49-F238E27FC236}">
                  <a16:creationId xmlns:a16="http://schemas.microsoft.com/office/drawing/2014/main" id="{5FC2CE00-7C11-46F2-B8F1-EE479AC6CE9B}"/>
                </a:ext>
              </a:extLst>
            </p:cNvPr>
            <p:cNvSpPr/>
            <p:nvPr/>
          </p:nvSpPr>
          <p:spPr>
            <a:xfrm>
              <a:off x="559625" y="2541842"/>
              <a:ext cx="197618" cy="183974"/>
            </a:xfrm>
            <a:prstGeom prst="diamond">
              <a:avLst/>
            </a:prstGeom>
            <a:solidFill>
              <a:srgbClr val="C9C9C9"/>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9" name="Straight Connector 688">
              <a:extLst>
                <a:ext uri="{FF2B5EF4-FFF2-40B4-BE49-F238E27FC236}">
                  <a16:creationId xmlns:a16="http://schemas.microsoft.com/office/drawing/2014/main" id="{8E978AA2-5344-40E5-990A-24310D3C1661}"/>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0" name="Rectangle 689">
            <a:extLst>
              <a:ext uri="{FF2B5EF4-FFF2-40B4-BE49-F238E27FC236}">
                <a16:creationId xmlns:a16="http://schemas.microsoft.com/office/drawing/2014/main" id="{173B50A6-B992-4DAE-99EA-8E6F11B148D1}"/>
              </a:ext>
            </a:extLst>
          </p:cNvPr>
          <p:cNvSpPr/>
          <p:nvPr/>
        </p:nvSpPr>
        <p:spPr>
          <a:xfrm>
            <a:off x="119356" y="4800111"/>
            <a:ext cx="849908"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Partner support</a:t>
            </a:r>
          </a:p>
        </p:txBody>
      </p:sp>
      <p:sp>
        <p:nvSpPr>
          <p:cNvPr id="691" name="Rectangle 690">
            <a:extLst>
              <a:ext uri="{FF2B5EF4-FFF2-40B4-BE49-F238E27FC236}">
                <a16:creationId xmlns:a16="http://schemas.microsoft.com/office/drawing/2014/main" id="{53DB4ABD-1BFE-443F-8C8B-247B3D5C1205}"/>
              </a:ext>
            </a:extLst>
          </p:cNvPr>
          <p:cNvSpPr/>
          <p:nvPr/>
        </p:nvSpPr>
        <p:spPr>
          <a:xfrm>
            <a:off x="4601096" y="5961125"/>
            <a:ext cx="2485056"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Discovery and assessment</a:t>
            </a:r>
          </a:p>
        </p:txBody>
      </p:sp>
      <p:grpSp>
        <p:nvGrpSpPr>
          <p:cNvPr id="692" name="Group 691">
            <a:extLst>
              <a:ext uri="{FF2B5EF4-FFF2-40B4-BE49-F238E27FC236}">
                <a16:creationId xmlns:a16="http://schemas.microsoft.com/office/drawing/2014/main" id="{C2F0D470-7D8F-4603-A724-82B462F3FC67}"/>
              </a:ext>
              <a:ext uri="{C183D7F6-B498-43B3-948B-1728B52AA6E4}">
                <adec:decorative xmlns:adec="http://schemas.microsoft.com/office/drawing/2017/decorative" val="1"/>
              </a:ext>
            </a:extLst>
          </p:cNvPr>
          <p:cNvGrpSpPr/>
          <p:nvPr/>
        </p:nvGrpSpPr>
        <p:grpSpPr>
          <a:xfrm rot="16200000" flipV="1">
            <a:off x="4342296" y="5920882"/>
            <a:ext cx="197618" cy="364288"/>
            <a:chOff x="559625" y="2541842"/>
            <a:chExt cx="197618" cy="364288"/>
          </a:xfrm>
        </p:grpSpPr>
        <p:sp>
          <p:nvSpPr>
            <p:cNvPr id="693" name="Diamond 692">
              <a:extLst>
                <a:ext uri="{FF2B5EF4-FFF2-40B4-BE49-F238E27FC236}">
                  <a16:creationId xmlns:a16="http://schemas.microsoft.com/office/drawing/2014/main" id="{459B27F9-C80E-45F0-AE6E-B9F5A45979F9}"/>
                </a:ext>
              </a:extLst>
            </p:cNvPr>
            <p:cNvSpPr/>
            <p:nvPr/>
          </p:nvSpPr>
          <p:spPr>
            <a:xfrm>
              <a:off x="559625" y="2541842"/>
              <a:ext cx="197618" cy="183974"/>
            </a:xfrm>
            <a:prstGeom prst="diamond">
              <a:avLst/>
            </a:prstGeom>
            <a:solidFill>
              <a:schemeClr val="accent3">
                <a:lumMod val="20000"/>
                <a:lumOff val="8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94" name="Straight Connector 693">
              <a:extLst>
                <a:ext uri="{FF2B5EF4-FFF2-40B4-BE49-F238E27FC236}">
                  <a16:creationId xmlns:a16="http://schemas.microsoft.com/office/drawing/2014/main" id="{B9C7C96F-51D5-45B8-93B1-64488BA65816}"/>
                </a:ext>
              </a:extLst>
            </p:cNvPr>
            <p:cNvCxnSpPr>
              <a:cxnSpLocks/>
            </p:cNvCxnSpPr>
            <p:nvPr/>
          </p:nvCxnSpPr>
          <p:spPr>
            <a:xfrm flipH="1" flipV="1">
              <a:off x="658434" y="2694682"/>
              <a:ext cx="0" cy="211448"/>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5" name="Rectangle 694">
            <a:extLst>
              <a:ext uri="{FF2B5EF4-FFF2-40B4-BE49-F238E27FC236}">
                <a16:creationId xmlns:a16="http://schemas.microsoft.com/office/drawing/2014/main" id="{187A1756-A6CE-4D55-B8D9-ED299D986FBD}"/>
              </a:ext>
            </a:extLst>
          </p:cNvPr>
          <p:cNvSpPr/>
          <p:nvPr/>
        </p:nvSpPr>
        <p:spPr>
          <a:xfrm>
            <a:off x="2262906" y="4004011"/>
            <a:ext cx="1768705"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CO/</a:t>
            </a:r>
            <a:br>
              <a:rPr kumimoji="0" lang="en-US" sz="1400" b="0" i="0" u="none" strike="noStrike" kern="1200" cap="none" spc="0" normalizeH="0" baseline="0" noProof="0">
                <a:ln>
                  <a:noFill/>
                </a:ln>
                <a:solidFill>
                  <a:prstClr val="white"/>
                </a:solidFill>
                <a:effectLst/>
                <a:uLnTx/>
                <a:uFillTx/>
                <a:latin typeface="Segoe UI Semibold"/>
                <a:ea typeface="+mn-ea"/>
                <a:cs typeface="+mn-cs"/>
              </a:rPr>
            </a:br>
            <a:r>
              <a:rPr kumimoji="0" lang="en-US" sz="1400" b="0" i="0" u="none" strike="noStrike" kern="1200" cap="none" spc="0" normalizeH="0" baseline="0" noProof="0">
                <a:ln>
                  <a:noFill/>
                </a:ln>
                <a:solidFill>
                  <a:prstClr val="white"/>
                </a:solidFill>
                <a:effectLst/>
                <a:uLnTx/>
                <a:uFillTx/>
                <a:latin typeface="Segoe UI Semibold"/>
                <a:ea typeface="+mn-ea"/>
                <a:cs typeface="+mn-cs"/>
              </a:rPr>
              <a:t>business case</a:t>
            </a:r>
          </a:p>
        </p:txBody>
      </p:sp>
      <p:grpSp>
        <p:nvGrpSpPr>
          <p:cNvPr id="696" name="Group 695">
            <a:extLst>
              <a:ext uri="{FF2B5EF4-FFF2-40B4-BE49-F238E27FC236}">
                <a16:creationId xmlns:a16="http://schemas.microsoft.com/office/drawing/2014/main" id="{C3DD1236-46E0-4116-9EFC-E6A81D8702C5}"/>
              </a:ext>
              <a:ext uri="{C183D7F6-B498-43B3-948B-1728B52AA6E4}">
                <adec:decorative xmlns:adec="http://schemas.microsoft.com/office/drawing/2017/decorative" val="1"/>
              </a:ext>
            </a:extLst>
          </p:cNvPr>
          <p:cNvGrpSpPr/>
          <p:nvPr/>
        </p:nvGrpSpPr>
        <p:grpSpPr>
          <a:xfrm rot="16200000">
            <a:off x="3140531" y="1856254"/>
            <a:ext cx="197618" cy="453304"/>
            <a:chOff x="559625" y="2541842"/>
            <a:chExt cx="197618" cy="453304"/>
          </a:xfrm>
          <a:solidFill>
            <a:schemeClr val="accent3"/>
          </a:solidFill>
        </p:grpSpPr>
        <p:sp>
          <p:nvSpPr>
            <p:cNvPr id="697" name="Diamond 696">
              <a:extLst>
                <a:ext uri="{FF2B5EF4-FFF2-40B4-BE49-F238E27FC236}">
                  <a16:creationId xmlns:a16="http://schemas.microsoft.com/office/drawing/2014/main" id="{7CF4E6B3-0CF7-40D9-A020-C9B6933C4D1E}"/>
                </a:ext>
              </a:extLst>
            </p:cNvPr>
            <p:cNvSpPr/>
            <p:nvPr/>
          </p:nvSpPr>
          <p:spPr>
            <a:xfrm>
              <a:off x="559625" y="2541842"/>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98" name="Straight Connector 697">
              <a:extLst>
                <a:ext uri="{FF2B5EF4-FFF2-40B4-BE49-F238E27FC236}">
                  <a16:creationId xmlns:a16="http://schemas.microsoft.com/office/drawing/2014/main" id="{01DA950E-9E3E-4B97-9C22-ED60DDCC8FF4}"/>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9" name="Rectangle 698">
            <a:extLst>
              <a:ext uri="{FF2B5EF4-FFF2-40B4-BE49-F238E27FC236}">
                <a16:creationId xmlns:a16="http://schemas.microsoft.com/office/drawing/2014/main" id="{9E4D39A3-1BFB-422C-A5FA-DEEFBD1FD530}"/>
              </a:ext>
            </a:extLst>
          </p:cNvPr>
          <p:cNvSpPr/>
          <p:nvPr/>
        </p:nvSpPr>
        <p:spPr>
          <a:xfrm>
            <a:off x="1870762" y="1821295"/>
            <a:ext cx="1136086"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gration plan</a:t>
            </a:r>
          </a:p>
        </p:txBody>
      </p:sp>
      <p:grpSp>
        <p:nvGrpSpPr>
          <p:cNvPr id="700" name="Group 699">
            <a:extLst>
              <a:ext uri="{FF2B5EF4-FFF2-40B4-BE49-F238E27FC236}">
                <a16:creationId xmlns:a16="http://schemas.microsoft.com/office/drawing/2014/main" id="{93D44443-FCE6-4610-92E9-52F83E61ACCA}"/>
              </a:ext>
              <a:ext uri="{C183D7F6-B498-43B3-948B-1728B52AA6E4}">
                <adec:decorative xmlns:adec="http://schemas.microsoft.com/office/drawing/2017/decorative" val="1"/>
              </a:ext>
            </a:extLst>
          </p:cNvPr>
          <p:cNvGrpSpPr/>
          <p:nvPr/>
        </p:nvGrpSpPr>
        <p:grpSpPr>
          <a:xfrm rot="5400000" flipH="1">
            <a:off x="6462851" y="1856254"/>
            <a:ext cx="197618" cy="453304"/>
            <a:chOff x="559625" y="2541842"/>
            <a:chExt cx="197618" cy="453304"/>
          </a:xfrm>
          <a:solidFill>
            <a:srgbClr val="00BEDE"/>
          </a:solidFill>
        </p:grpSpPr>
        <p:sp>
          <p:nvSpPr>
            <p:cNvPr id="701" name="Diamond 700">
              <a:extLst>
                <a:ext uri="{FF2B5EF4-FFF2-40B4-BE49-F238E27FC236}">
                  <a16:creationId xmlns:a16="http://schemas.microsoft.com/office/drawing/2014/main" id="{8F8917B3-A3E3-4980-95E3-FD46027BF199}"/>
                </a:ext>
              </a:extLst>
            </p:cNvPr>
            <p:cNvSpPr/>
            <p:nvPr/>
          </p:nvSpPr>
          <p:spPr>
            <a:xfrm>
              <a:off x="559625" y="2541842"/>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02" name="Straight Connector 701">
              <a:extLst>
                <a:ext uri="{FF2B5EF4-FFF2-40B4-BE49-F238E27FC236}">
                  <a16:creationId xmlns:a16="http://schemas.microsoft.com/office/drawing/2014/main" id="{936CBD5B-6A9A-4D64-B667-B247C5E1D8A6}"/>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04" name="Rectangle 703">
            <a:extLst>
              <a:ext uri="{FF2B5EF4-FFF2-40B4-BE49-F238E27FC236}">
                <a16:creationId xmlns:a16="http://schemas.microsoft.com/office/drawing/2014/main" id="{AFD143F8-8A0E-475E-ABC7-D19C1B4D724E}"/>
              </a:ext>
            </a:extLst>
          </p:cNvPr>
          <p:cNvSpPr/>
          <p:nvPr/>
        </p:nvSpPr>
        <p:spPr>
          <a:xfrm>
            <a:off x="6828842" y="1821295"/>
            <a:ext cx="1136086"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echnical skilling</a:t>
            </a:r>
          </a:p>
        </p:txBody>
      </p:sp>
      <p:sp>
        <p:nvSpPr>
          <p:cNvPr id="716" name="Rectangle 715">
            <a:extLst>
              <a:ext uri="{FF2B5EF4-FFF2-40B4-BE49-F238E27FC236}">
                <a16:creationId xmlns:a16="http://schemas.microsoft.com/office/drawing/2014/main" id="{98CF7545-E5DC-41FE-97E4-DBB3705C5C78}"/>
              </a:ext>
            </a:extLst>
          </p:cNvPr>
          <p:cNvSpPr/>
          <p:nvPr/>
        </p:nvSpPr>
        <p:spPr>
          <a:xfrm>
            <a:off x="6563885" y="3830866"/>
            <a:ext cx="136408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gration execution</a:t>
            </a:r>
          </a:p>
        </p:txBody>
      </p:sp>
      <p:grpSp>
        <p:nvGrpSpPr>
          <p:cNvPr id="717" name="Group 716">
            <a:extLst>
              <a:ext uri="{FF2B5EF4-FFF2-40B4-BE49-F238E27FC236}">
                <a16:creationId xmlns:a16="http://schemas.microsoft.com/office/drawing/2014/main" id="{15F747A0-7C55-4C80-B8D9-2B5A1F7BFA95}"/>
              </a:ext>
              <a:ext uri="{C183D7F6-B498-43B3-948B-1728B52AA6E4}">
                <adec:decorative xmlns:adec="http://schemas.microsoft.com/office/drawing/2017/decorative" val="1"/>
              </a:ext>
            </a:extLst>
          </p:cNvPr>
          <p:cNvGrpSpPr/>
          <p:nvPr/>
        </p:nvGrpSpPr>
        <p:grpSpPr>
          <a:xfrm>
            <a:off x="7145915" y="4414341"/>
            <a:ext cx="197618" cy="453304"/>
            <a:chOff x="559625" y="2541842"/>
            <a:chExt cx="197618" cy="453304"/>
          </a:xfrm>
          <a:solidFill>
            <a:schemeClr val="accent1">
              <a:lumMod val="20000"/>
              <a:lumOff val="80000"/>
            </a:schemeClr>
          </a:solidFill>
        </p:grpSpPr>
        <p:sp>
          <p:nvSpPr>
            <p:cNvPr id="718" name="Diamond 717">
              <a:extLst>
                <a:ext uri="{FF2B5EF4-FFF2-40B4-BE49-F238E27FC236}">
                  <a16:creationId xmlns:a16="http://schemas.microsoft.com/office/drawing/2014/main" id="{18406F18-9EB6-4FFC-A896-4C307200A5A6}"/>
                </a:ext>
              </a:extLst>
            </p:cNvPr>
            <p:cNvSpPr/>
            <p:nvPr/>
          </p:nvSpPr>
          <p:spPr>
            <a:xfrm>
              <a:off x="559625" y="2541842"/>
              <a:ext cx="197618" cy="183974"/>
            </a:xfrm>
            <a:prstGeom prst="diamond">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19" name="Straight Connector 718">
              <a:extLst>
                <a:ext uri="{FF2B5EF4-FFF2-40B4-BE49-F238E27FC236}">
                  <a16:creationId xmlns:a16="http://schemas.microsoft.com/office/drawing/2014/main" id="{EDCF10A8-9CD3-4300-8862-32BE991774AF}"/>
                </a:ext>
              </a:extLst>
            </p:cNvPr>
            <p:cNvCxnSpPr>
              <a:cxnSpLocks/>
            </p:cNvCxnSpPr>
            <p:nvPr/>
          </p:nvCxnSpPr>
          <p:spPr>
            <a:xfrm flipH="1" flipV="1">
              <a:off x="668825" y="2694682"/>
              <a:ext cx="3076" cy="300464"/>
            </a:xfrm>
            <a:prstGeom prst="line">
              <a:avLst/>
            </a:prstGeom>
            <a:grpFill/>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722" name="Rectangle 721">
            <a:extLst>
              <a:ext uri="{FF2B5EF4-FFF2-40B4-BE49-F238E27FC236}">
                <a16:creationId xmlns:a16="http://schemas.microsoft.com/office/drawing/2014/main" id="{EB4C245D-82D9-4CC0-B1EE-57BA543B870B}"/>
              </a:ext>
            </a:extLst>
          </p:cNvPr>
          <p:cNvSpPr/>
          <p:nvPr/>
        </p:nvSpPr>
        <p:spPr>
          <a:xfrm>
            <a:off x="8096741" y="1473736"/>
            <a:ext cx="2598165"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Security and compliance</a:t>
            </a:r>
          </a:p>
        </p:txBody>
      </p:sp>
      <p:grpSp>
        <p:nvGrpSpPr>
          <p:cNvPr id="723" name="Group 722">
            <a:extLst>
              <a:ext uri="{FF2B5EF4-FFF2-40B4-BE49-F238E27FC236}">
                <a16:creationId xmlns:a16="http://schemas.microsoft.com/office/drawing/2014/main" id="{CF3F6B04-A377-4765-9EE3-A702B4550389}"/>
              </a:ext>
              <a:ext uri="{C183D7F6-B498-43B3-948B-1728B52AA6E4}">
                <adec:decorative xmlns:adec="http://schemas.microsoft.com/office/drawing/2017/decorative" val="1"/>
              </a:ext>
            </a:extLst>
          </p:cNvPr>
          <p:cNvGrpSpPr/>
          <p:nvPr/>
        </p:nvGrpSpPr>
        <p:grpSpPr>
          <a:xfrm>
            <a:off x="9046081" y="1823308"/>
            <a:ext cx="197618" cy="453304"/>
            <a:chOff x="559625" y="2541842"/>
            <a:chExt cx="197618" cy="453304"/>
          </a:xfrm>
        </p:grpSpPr>
        <p:sp>
          <p:nvSpPr>
            <p:cNvPr id="724" name="Diamond 723">
              <a:extLst>
                <a:ext uri="{FF2B5EF4-FFF2-40B4-BE49-F238E27FC236}">
                  <a16:creationId xmlns:a16="http://schemas.microsoft.com/office/drawing/2014/main" id="{CDABE6F7-2C88-452E-B783-FBEE1672E7A4}"/>
                </a:ext>
              </a:extLst>
            </p:cNvPr>
            <p:cNvSpPr/>
            <p:nvPr/>
          </p:nvSpPr>
          <p:spPr>
            <a:xfrm>
              <a:off x="559625" y="2541842"/>
              <a:ext cx="197618" cy="183974"/>
            </a:xfrm>
            <a:prstGeom prst="diamond">
              <a:avLst/>
            </a:prstGeom>
            <a:solidFill>
              <a:schemeClr val="accent1">
                <a:lumMod val="40000"/>
                <a:lumOff val="6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25" name="Straight Connector 724">
              <a:extLst>
                <a:ext uri="{FF2B5EF4-FFF2-40B4-BE49-F238E27FC236}">
                  <a16:creationId xmlns:a16="http://schemas.microsoft.com/office/drawing/2014/main" id="{1ABF3A2F-A8A9-4A41-B007-E6A7BA6F6801}"/>
                </a:ext>
              </a:extLst>
            </p:cNvPr>
            <p:cNvCxnSpPr>
              <a:cxnSpLocks/>
            </p:cNvCxnSpPr>
            <p:nvPr/>
          </p:nvCxnSpPr>
          <p:spPr>
            <a:xfrm flipH="1" flipV="1">
              <a:off x="668825"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726" name="Group 725">
            <a:extLst>
              <a:ext uri="{FF2B5EF4-FFF2-40B4-BE49-F238E27FC236}">
                <a16:creationId xmlns:a16="http://schemas.microsoft.com/office/drawing/2014/main" id="{E4660DB1-B0F7-42B3-B1D1-978D14D851A5}"/>
              </a:ext>
              <a:ext uri="{C183D7F6-B498-43B3-948B-1728B52AA6E4}">
                <adec:decorative xmlns:adec="http://schemas.microsoft.com/office/drawing/2017/decorative" val="1"/>
              </a:ext>
            </a:extLst>
          </p:cNvPr>
          <p:cNvGrpSpPr/>
          <p:nvPr/>
        </p:nvGrpSpPr>
        <p:grpSpPr>
          <a:xfrm rot="16200000">
            <a:off x="9986258" y="3947243"/>
            <a:ext cx="197618" cy="453304"/>
            <a:chOff x="559625" y="2541842"/>
            <a:chExt cx="197618" cy="453304"/>
          </a:xfrm>
        </p:grpSpPr>
        <p:sp>
          <p:nvSpPr>
            <p:cNvPr id="727" name="Diamond 726">
              <a:extLst>
                <a:ext uri="{FF2B5EF4-FFF2-40B4-BE49-F238E27FC236}">
                  <a16:creationId xmlns:a16="http://schemas.microsoft.com/office/drawing/2014/main" id="{4A670FFC-E354-41AA-95E9-67316F567253}"/>
                </a:ext>
              </a:extLst>
            </p:cNvPr>
            <p:cNvSpPr/>
            <p:nvPr/>
          </p:nvSpPr>
          <p:spPr>
            <a:xfrm>
              <a:off x="559625" y="2541842"/>
              <a:ext cx="197618" cy="183974"/>
            </a:xfrm>
            <a:prstGeom prst="diamond">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28" name="Straight Connector 727">
              <a:extLst>
                <a:ext uri="{FF2B5EF4-FFF2-40B4-BE49-F238E27FC236}">
                  <a16:creationId xmlns:a16="http://schemas.microsoft.com/office/drawing/2014/main" id="{35A83658-0737-4160-83F0-9F7B86DAF4C5}"/>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29" name="Rectangle 728">
            <a:extLst>
              <a:ext uri="{FF2B5EF4-FFF2-40B4-BE49-F238E27FC236}">
                <a16:creationId xmlns:a16="http://schemas.microsoft.com/office/drawing/2014/main" id="{1929A828-F719-4A30-89D9-5C4D0D6DDD70}"/>
              </a:ext>
            </a:extLst>
          </p:cNvPr>
          <p:cNvSpPr/>
          <p:nvPr/>
        </p:nvSpPr>
        <p:spPr>
          <a:xfrm>
            <a:off x="9096833" y="4343802"/>
            <a:ext cx="1064654"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Cloud operations</a:t>
            </a:r>
          </a:p>
        </p:txBody>
      </p:sp>
      <p:grpSp>
        <p:nvGrpSpPr>
          <p:cNvPr id="730" name="Group 729">
            <a:extLst>
              <a:ext uri="{FF2B5EF4-FFF2-40B4-BE49-F238E27FC236}">
                <a16:creationId xmlns:a16="http://schemas.microsoft.com/office/drawing/2014/main" id="{2A55A2EE-CBA0-4FD0-933D-2661BDF81AE3}"/>
              </a:ext>
              <a:ext uri="{C183D7F6-B498-43B3-948B-1728B52AA6E4}">
                <adec:decorative xmlns:adec="http://schemas.microsoft.com/office/drawing/2017/decorative" val="1"/>
              </a:ext>
            </a:extLst>
          </p:cNvPr>
          <p:cNvGrpSpPr/>
          <p:nvPr/>
        </p:nvGrpSpPr>
        <p:grpSpPr>
          <a:xfrm rot="16200000">
            <a:off x="5213631" y="3942889"/>
            <a:ext cx="197618" cy="462013"/>
            <a:chOff x="559625" y="2533133"/>
            <a:chExt cx="197618" cy="462013"/>
          </a:xfrm>
          <a:solidFill>
            <a:schemeClr val="accent3">
              <a:lumMod val="50000"/>
            </a:schemeClr>
          </a:solidFill>
        </p:grpSpPr>
        <p:sp>
          <p:nvSpPr>
            <p:cNvPr id="731" name="Diamond 730">
              <a:extLst>
                <a:ext uri="{FF2B5EF4-FFF2-40B4-BE49-F238E27FC236}">
                  <a16:creationId xmlns:a16="http://schemas.microsoft.com/office/drawing/2014/main" id="{C6603EBA-3973-49BB-87E1-FF19BADB4128}"/>
                </a:ext>
              </a:extLst>
            </p:cNvPr>
            <p:cNvSpPr/>
            <p:nvPr/>
          </p:nvSpPr>
          <p:spPr>
            <a:xfrm>
              <a:off x="559625" y="2533133"/>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32" name="Straight Connector 731">
              <a:extLst>
                <a:ext uri="{FF2B5EF4-FFF2-40B4-BE49-F238E27FC236}">
                  <a16:creationId xmlns:a16="http://schemas.microsoft.com/office/drawing/2014/main" id="{81B7819E-C168-49FF-BBA2-0DF82FDDC098}"/>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33" name="Rectangle 732">
            <a:extLst>
              <a:ext uri="{FF2B5EF4-FFF2-40B4-BE49-F238E27FC236}">
                <a16:creationId xmlns:a16="http://schemas.microsoft.com/office/drawing/2014/main" id="{6E7A410C-861F-4087-8B97-58822C15268A}"/>
              </a:ext>
            </a:extLst>
          </p:cNvPr>
          <p:cNvSpPr/>
          <p:nvPr/>
        </p:nvSpPr>
        <p:spPr>
          <a:xfrm>
            <a:off x="4242452" y="3894457"/>
            <a:ext cx="849908"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Landing zone</a:t>
            </a:r>
          </a:p>
        </p:txBody>
      </p:sp>
      <p:sp>
        <p:nvSpPr>
          <p:cNvPr id="254" name="Freeform: Shape 253" descr="workload owenr">
            <a:extLst>
              <a:ext uri="{FF2B5EF4-FFF2-40B4-BE49-F238E27FC236}">
                <a16:creationId xmlns:a16="http://schemas.microsoft.com/office/drawing/2014/main" id="{DA737712-9C16-4956-AC47-9A2A2D0FAD31}"/>
              </a:ext>
            </a:extLst>
          </p:cNvPr>
          <p:cNvSpPr/>
          <p:nvPr/>
        </p:nvSpPr>
        <p:spPr>
          <a:xfrm rot="10800000" flipV="1">
            <a:off x="3463604" y="5766865"/>
            <a:ext cx="790344" cy="772722"/>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87" name="Freeform 16">
            <a:extLst>
              <a:ext uri="{FF2B5EF4-FFF2-40B4-BE49-F238E27FC236}">
                <a16:creationId xmlns:a16="http://schemas.microsoft.com/office/drawing/2014/main" id="{27BAFC92-3540-4344-ADB9-166CAFB09531}"/>
              </a:ext>
            </a:extLst>
          </p:cNvPr>
          <p:cNvSpPr>
            <a:spLocks/>
          </p:cNvSpPr>
          <p:nvPr/>
        </p:nvSpPr>
        <p:spPr bwMode="auto">
          <a:xfrm>
            <a:off x="3477766" y="5784791"/>
            <a:ext cx="769114" cy="641234"/>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Workload owner</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buy-in or alignment</a:t>
            </a:r>
          </a:p>
        </p:txBody>
      </p:sp>
      <p:sp>
        <p:nvSpPr>
          <p:cNvPr id="255" name="Freeform: Shape 254" descr="Cost Managment">
            <a:extLst>
              <a:ext uri="{FF2B5EF4-FFF2-40B4-BE49-F238E27FC236}">
                <a16:creationId xmlns:a16="http://schemas.microsoft.com/office/drawing/2014/main" id="{D9E11929-F9F4-43FD-A38D-883013AB6343}"/>
              </a:ext>
            </a:extLst>
          </p:cNvPr>
          <p:cNvSpPr/>
          <p:nvPr/>
        </p:nvSpPr>
        <p:spPr>
          <a:xfrm rot="10800000" flipH="1" flipV="1">
            <a:off x="5554698" y="4690214"/>
            <a:ext cx="783276" cy="952893"/>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Rectangle 18">
            <a:extLst>
              <a:ext uri="{FF2B5EF4-FFF2-40B4-BE49-F238E27FC236}">
                <a16:creationId xmlns:a16="http://schemas.microsoft.com/office/drawing/2014/main" id="{6C795D14-AF47-4C90-B59D-22325C22432A}"/>
              </a:ext>
            </a:extLst>
          </p:cNvPr>
          <p:cNvSpPr>
            <a:spLocks noChangeArrowheads="1"/>
          </p:cNvSpPr>
          <p:nvPr/>
        </p:nvSpPr>
        <p:spPr bwMode="auto">
          <a:xfrm>
            <a:off x="5573020" y="4862773"/>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Cost management</a:t>
            </a:r>
          </a:p>
        </p:txBody>
      </p:sp>
      <p:sp>
        <p:nvSpPr>
          <p:cNvPr id="259" name="Freeform: Shape 258" descr="Infrastructure security">
            <a:extLst>
              <a:ext uri="{FF2B5EF4-FFF2-40B4-BE49-F238E27FC236}">
                <a16:creationId xmlns:a16="http://schemas.microsoft.com/office/drawing/2014/main" id="{FAB4AE8E-60C0-4969-8093-BAC95953EFE2}"/>
              </a:ext>
            </a:extLst>
          </p:cNvPr>
          <p:cNvSpPr/>
          <p:nvPr/>
        </p:nvSpPr>
        <p:spPr>
          <a:xfrm rot="10800000" flipH="1">
            <a:off x="8133137" y="2263691"/>
            <a:ext cx="783276" cy="770768"/>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28" name="Rectangle 17">
            <a:extLst>
              <a:ext uri="{FF2B5EF4-FFF2-40B4-BE49-F238E27FC236}">
                <a16:creationId xmlns:a16="http://schemas.microsoft.com/office/drawing/2014/main" id="{1F057244-6745-47FB-8AD4-D0A8B31C2E43}"/>
              </a:ext>
            </a:extLst>
          </p:cNvPr>
          <p:cNvSpPr>
            <a:spLocks noChangeArrowheads="1"/>
          </p:cNvSpPr>
          <p:nvPr/>
        </p:nvSpPr>
        <p:spPr bwMode="auto">
          <a:xfrm>
            <a:off x="8118697" y="2471978"/>
            <a:ext cx="793712"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Infrastructure security</a:t>
            </a:r>
          </a:p>
        </p:txBody>
      </p:sp>
      <p:sp>
        <p:nvSpPr>
          <p:cNvPr id="260" name="Freeform: Shape 259" descr="Operations model">
            <a:extLst>
              <a:ext uri="{FF2B5EF4-FFF2-40B4-BE49-F238E27FC236}">
                <a16:creationId xmlns:a16="http://schemas.microsoft.com/office/drawing/2014/main" id="{DF209FF7-21CD-4F41-8F8C-A08CEABE8E18}"/>
              </a:ext>
            </a:extLst>
          </p:cNvPr>
          <p:cNvSpPr/>
          <p:nvPr/>
        </p:nvSpPr>
        <p:spPr>
          <a:xfrm rot="10800000">
            <a:off x="10321265" y="2263692"/>
            <a:ext cx="783276" cy="786146"/>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70" name="Rectangle 369">
            <a:extLst>
              <a:ext uri="{FF2B5EF4-FFF2-40B4-BE49-F238E27FC236}">
                <a16:creationId xmlns:a16="http://schemas.microsoft.com/office/drawing/2014/main" id="{82F62DEB-3E50-4AFB-BE9F-986B284DF814}"/>
              </a:ext>
            </a:extLst>
          </p:cNvPr>
          <p:cNvSpPr/>
          <p:nvPr/>
        </p:nvSpPr>
        <p:spPr>
          <a:xfrm>
            <a:off x="10341556" y="2469583"/>
            <a:ext cx="672949"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Operations model</a:t>
            </a:r>
          </a:p>
        </p:txBody>
      </p:sp>
      <p:sp>
        <p:nvSpPr>
          <p:cNvPr id="264" name="Freeform: Shape 263" descr="Financial analysis">
            <a:extLst>
              <a:ext uri="{FF2B5EF4-FFF2-40B4-BE49-F238E27FC236}">
                <a16:creationId xmlns:a16="http://schemas.microsoft.com/office/drawing/2014/main" id="{49AD1B9D-DE79-43C9-B456-44F7A8D8F964}"/>
              </a:ext>
            </a:extLst>
          </p:cNvPr>
          <p:cNvSpPr/>
          <p:nvPr/>
        </p:nvSpPr>
        <p:spPr>
          <a:xfrm rot="10800000">
            <a:off x="3465250" y="3678578"/>
            <a:ext cx="779319" cy="328168"/>
          </a:xfrm>
          <a:custGeom>
            <a:avLst/>
            <a:gdLst>
              <a:gd name="connsiteX0" fmla="*/ 779318 w 779319"/>
              <a:gd name="connsiteY0" fmla="*/ 328168 h 328168"/>
              <a:gd name="connsiteX1" fmla="*/ 0 w 779319"/>
              <a:gd name="connsiteY1" fmla="*/ 328168 h 328168"/>
              <a:gd name="connsiteX2" fmla="*/ 0 w 779319"/>
              <a:gd name="connsiteY2" fmla="*/ 0 h 328168"/>
              <a:gd name="connsiteX3" fmla="*/ 779319 w 779319"/>
              <a:gd name="connsiteY3" fmla="*/ 0 h 328168"/>
              <a:gd name="connsiteX4" fmla="*/ 779318 w 779319"/>
              <a:gd name="connsiteY4" fmla="*/ 328168 h 3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28168">
                <a:moveTo>
                  <a:pt x="779318" y="328168"/>
                </a:moveTo>
                <a:lnTo>
                  <a:pt x="0" y="328168"/>
                </a:lnTo>
                <a:lnTo>
                  <a:pt x="0" y="0"/>
                </a:lnTo>
                <a:lnTo>
                  <a:pt x="779319" y="0"/>
                </a:lnTo>
                <a:lnTo>
                  <a:pt x="779318" y="328168"/>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5" name="Rectangle 264">
            <a:extLst>
              <a:ext uri="{FF2B5EF4-FFF2-40B4-BE49-F238E27FC236}">
                <a16:creationId xmlns:a16="http://schemas.microsoft.com/office/drawing/2014/main" id="{6A8A53DA-00FE-4A47-8D44-F714797A54DA}"/>
              </a:ext>
            </a:extLst>
          </p:cNvPr>
          <p:cNvSpPr/>
          <p:nvPr/>
        </p:nvSpPr>
        <p:spPr>
          <a:xfrm>
            <a:off x="3471354" y="3665063"/>
            <a:ext cx="785769" cy="396399"/>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Financial analysis</a:t>
            </a:r>
          </a:p>
        </p:txBody>
      </p:sp>
      <p:sp>
        <p:nvSpPr>
          <p:cNvPr id="266" name="Freeform: Shape 265" descr="Migration strategy">
            <a:extLst>
              <a:ext uri="{FF2B5EF4-FFF2-40B4-BE49-F238E27FC236}">
                <a16:creationId xmlns:a16="http://schemas.microsoft.com/office/drawing/2014/main" id="{AEB77987-37C0-407D-ADF1-F4BD32D8C64F}"/>
              </a:ext>
            </a:extLst>
          </p:cNvPr>
          <p:cNvSpPr/>
          <p:nvPr/>
        </p:nvSpPr>
        <p:spPr>
          <a:xfrm rot="10800000">
            <a:off x="3464924" y="4206984"/>
            <a:ext cx="779319" cy="328168"/>
          </a:xfrm>
          <a:custGeom>
            <a:avLst/>
            <a:gdLst>
              <a:gd name="connsiteX0" fmla="*/ 779318 w 779319"/>
              <a:gd name="connsiteY0" fmla="*/ 328168 h 328168"/>
              <a:gd name="connsiteX1" fmla="*/ 0 w 779319"/>
              <a:gd name="connsiteY1" fmla="*/ 328168 h 328168"/>
              <a:gd name="connsiteX2" fmla="*/ 0 w 779319"/>
              <a:gd name="connsiteY2" fmla="*/ 0 h 328168"/>
              <a:gd name="connsiteX3" fmla="*/ 779319 w 779319"/>
              <a:gd name="connsiteY3" fmla="*/ 0 h 328168"/>
              <a:gd name="connsiteX4" fmla="*/ 779318 w 779319"/>
              <a:gd name="connsiteY4" fmla="*/ 328168 h 3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28168">
                <a:moveTo>
                  <a:pt x="779318" y="328168"/>
                </a:moveTo>
                <a:lnTo>
                  <a:pt x="0" y="328168"/>
                </a:lnTo>
                <a:lnTo>
                  <a:pt x="0" y="0"/>
                </a:lnTo>
                <a:lnTo>
                  <a:pt x="779319" y="0"/>
                </a:lnTo>
                <a:lnTo>
                  <a:pt x="779318" y="328168"/>
                </a:lnTo>
                <a:close/>
              </a:path>
            </a:pathLst>
          </a:custGeom>
          <a:solidFill>
            <a:srgbClr val="B3F4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7" name="Rectangle 266">
            <a:extLst>
              <a:ext uri="{FF2B5EF4-FFF2-40B4-BE49-F238E27FC236}">
                <a16:creationId xmlns:a16="http://schemas.microsoft.com/office/drawing/2014/main" id="{E0039288-B235-4294-AE95-67CF93FA1816}"/>
              </a:ext>
            </a:extLst>
          </p:cNvPr>
          <p:cNvSpPr/>
          <p:nvPr/>
        </p:nvSpPr>
        <p:spPr>
          <a:xfrm>
            <a:off x="3471027" y="4092463"/>
            <a:ext cx="782921" cy="438813"/>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strategy</a:t>
            </a:r>
          </a:p>
        </p:txBody>
      </p:sp>
      <p:grpSp>
        <p:nvGrpSpPr>
          <p:cNvPr id="268" name="Group 267">
            <a:extLst>
              <a:ext uri="{FF2B5EF4-FFF2-40B4-BE49-F238E27FC236}">
                <a16:creationId xmlns:a16="http://schemas.microsoft.com/office/drawing/2014/main" id="{70506AD1-063A-4D9F-A01D-08014DD2FF5B}"/>
              </a:ext>
              <a:ext uri="{C183D7F6-B498-43B3-948B-1728B52AA6E4}">
                <adec:decorative xmlns:adec="http://schemas.microsoft.com/office/drawing/2017/decorative" val="1"/>
              </a:ext>
            </a:extLst>
          </p:cNvPr>
          <p:cNvGrpSpPr/>
          <p:nvPr/>
        </p:nvGrpSpPr>
        <p:grpSpPr>
          <a:xfrm rot="16200000">
            <a:off x="3123896" y="3807000"/>
            <a:ext cx="197618" cy="453304"/>
            <a:chOff x="559625" y="2541842"/>
            <a:chExt cx="197618" cy="453304"/>
          </a:xfrm>
          <a:solidFill>
            <a:srgbClr val="9BFAFF"/>
          </a:solidFill>
        </p:grpSpPr>
        <p:sp>
          <p:nvSpPr>
            <p:cNvPr id="269" name="Diamond 268">
              <a:extLst>
                <a:ext uri="{FF2B5EF4-FFF2-40B4-BE49-F238E27FC236}">
                  <a16:creationId xmlns:a16="http://schemas.microsoft.com/office/drawing/2014/main" id="{CAB82B11-7032-4F51-A137-E689799A945E}"/>
                </a:ext>
              </a:extLst>
            </p:cNvPr>
            <p:cNvSpPr/>
            <p:nvPr/>
          </p:nvSpPr>
          <p:spPr>
            <a:xfrm>
              <a:off x="559625" y="2541842"/>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70" name="Straight Connector 269">
              <a:extLst>
                <a:ext uri="{FF2B5EF4-FFF2-40B4-BE49-F238E27FC236}">
                  <a16:creationId xmlns:a16="http://schemas.microsoft.com/office/drawing/2014/main" id="{B9675568-FD5E-4BDF-B3C7-27975DDB7188}"/>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2179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DEE5C2-93CC-4336-A776-F4EAE4EDA638}"/>
              </a:ext>
            </a:extLst>
          </p:cNvPr>
          <p:cNvSpPr>
            <a:spLocks noGrp="1"/>
          </p:cNvSpPr>
          <p:nvPr>
            <p:ph type="title"/>
          </p:nvPr>
        </p:nvSpPr>
        <p:spPr>
          <a:xfrm>
            <a:off x="303035" y="262228"/>
            <a:ext cx="11081177" cy="1020602"/>
          </a:xfrm>
        </p:spPr>
        <p:txBody>
          <a:bodyPr/>
          <a:lstStyle/>
          <a:p>
            <a:pPr lvl="0" defTabSz="911764">
              <a:lnSpc>
                <a:spcPct val="100000"/>
              </a:lnSpc>
              <a:spcBef>
                <a:spcPts val="0"/>
              </a:spcBef>
              <a:defRPr/>
            </a:pPr>
            <a:r>
              <a:rPr lang="en-US">
                <a:solidFill>
                  <a:srgbClr val="50E6FF"/>
                </a:solidFill>
                <a:ea typeface="+mn-ea"/>
                <a:cs typeface="+mn-cs"/>
              </a:rPr>
              <a:t>Streamline your migration journey with Microsoft</a:t>
            </a:r>
            <a:br>
              <a:rPr lang="en-US">
                <a:solidFill>
                  <a:srgbClr val="50E6FF"/>
                </a:solidFill>
                <a:ea typeface="+mn-ea"/>
                <a:cs typeface="+mn-cs"/>
              </a:rPr>
            </a:br>
            <a:r>
              <a:rPr lang="en-US" sz="2000">
                <a:solidFill>
                  <a:srgbClr val="FFFFFF"/>
                </a:solidFill>
                <a:ea typeface="+mn-ea"/>
                <a:cs typeface="+mn-cs"/>
              </a:rPr>
              <a:t>And our verified Azure Migration Partners</a:t>
            </a:r>
            <a:endParaRPr lang="en-US"/>
          </a:p>
        </p:txBody>
      </p:sp>
      <p:sp>
        <p:nvSpPr>
          <p:cNvPr id="600" name="Rectangle 599">
            <a:extLst>
              <a:ext uri="{FF2B5EF4-FFF2-40B4-BE49-F238E27FC236}">
                <a16:creationId xmlns:a16="http://schemas.microsoft.com/office/drawing/2014/main" id="{AD7E46A5-3111-44EA-A460-2B8DCDC46683}"/>
              </a:ext>
            </a:extLst>
          </p:cNvPr>
          <p:cNvSpPr/>
          <p:nvPr/>
        </p:nvSpPr>
        <p:spPr>
          <a:xfrm>
            <a:off x="6517076" y="2625086"/>
            <a:ext cx="777240" cy="7772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Migration execution</a:t>
            </a:r>
          </a:p>
        </p:txBody>
      </p:sp>
      <p:sp>
        <p:nvSpPr>
          <p:cNvPr id="599" name="Rectangle 598">
            <a:extLst>
              <a:ext uri="{FF2B5EF4-FFF2-40B4-BE49-F238E27FC236}">
                <a16:creationId xmlns:a16="http://schemas.microsoft.com/office/drawing/2014/main" id="{97415616-F092-4FBB-ADAC-018687D08929}"/>
              </a:ext>
            </a:extLst>
          </p:cNvPr>
          <p:cNvSpPr/>
          <p:nvPr/>
        </p:nvSpPr>
        <p:spPr>
          <a:xfrm>
            <a:off x="8956325" y="2625086"/>
            <a:ext cx="777240" cy="777240"/>
          </a:xfrm>
          <a:prstGeom prst="rect">
            <a:avLst/>
          </a:pr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defRPr/>
            </a:pPr>
            <a:r>
              <a:rPr kumimoji="0" lang="en-US" sz="900" b="0" i="0" u="none" strike="noStrike" kern="1200" cap="none" spc="0" normalizeH="0" baseline="0" noProof="0">
                <a:ln>
                  <a:noFill/>
                </a:ln>
                <a:solidFill>
                  <a:prstClr val="black"/>
                </a:solidFill>
                <a:effectLst/>
                <a:uLnTx/>
                <a:uFillTx/>
                <a:latin typeface="Segoe UI"/>
                <a:ea typeface="+mn-ea"/>
                <a:cs typeface="+mn-cs"/>
              </a:rPr>
              <a:t>Security </a:t>
            </a:r>
            <a:r>
              <a:rPr lang="en-US" sz="900">
                <a:solidFill>
                  <a:prstClr val="black"/>
                </a:solidFill>
                <a:latin typeface="Segoe UI"/>
              </a:rPr>
              <a:t> </a:t>
            </a:r>
          </a:p>
          <a:p>
            <a:pPr algn="ctr">
              <a:defRPr/>
            </a:pPr>
            <a:r>
              <a:rPr lang="en-US" sz="900">
                <a:solidFill>
                  <a:prstClr val="black"/>
                </a:solidFill>
                <a:latin typeface="Segoe UI"/>
              </a:rPr>
              <a:t>&amp; </a:t>
            </a:r>
          </a:p>
          <a:p>
            <a:pPr algn="ctr">
              <a:defRPr/>
            </a:pPr>
            <a:r>
              <a:rPr kumimoji="0" lang="en-US" sz="900" b="0" i="0" u="none" strike="noStrike" kern="1200" cap="none" spc="0" normalizeH="0" baseline="0" noProof="0">
                <a:ln>
                  <a:noFill/>
                </a:ln>
                <a:solidFill>
                  <a:prstClr val="black"/>
                </a:solidFill>
                <a:effectLst/>
                <a:uLnTx/>
                <a:uFillTx/>
                <a:latin typeface="Segoe UI"/>
                <a:ea typeface="+mn-ea"/>
                <a:cs typeface="+mn-cs"/>
              </a:rPr>
              <a:t>Governance</a:t>
            </a:r>
          </a:p>
        </p:txBody>
      </p:sp>
      <p:sp>
        <p:nvSpPr>
          <p:cNvPr id="597" name="Rectangle 596">
            <a:extLst>
              <a:ext uri="{FF2B5EF4-FFF2-40B4-BE49-F238E27FC236}">
                <a16:creationId xmlns:a16="http://schemas.microsoft.com/office/drawing/2014/main" id="{D8DFF245-F74F-459F-ADDD-4DE556ECB2D7}"/>
              </a:ext>
            </a:extLst>
          </p:cNvPr>
          <p:cNvSpPr/>
          <p:nvPr/>
        </p:nvSpPr>
        <p:spPr>
          <a:xfrm>
            <a:off x="8143242" y="2625086"/>
            <a:ext cx="777240" cy="777240"/>
          </a:xfrm>
          <a:prstGeom prst="rect">
            <a:avLst/>
          </a:pr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00" b="0" i="0" u="none" strike="noStrike" kern="1200" cap="none" spc="-30" normalizeH="0" baseline="0" noProof="0">
                <a:ln>
                  <a:noFill/>
                </a:ln>
                <a:solidFill>
                  <a:prstClr val="black"/>
                </a:solidFill>
                <a:effectLst/>
                <a:uLnTx/>
                <a:uFillTx/>
                <a:latin typeface="Segoe UI"/>
                <a:ea typeface="+mn-ea"/>
                <a:cs typeface="+mn-cs"/>
              </a:rPr>
              <a:t>Azure administration</a:t>
            </a:r>
          </a:p>
        </p:txBody>
      </p:sp>
      <p:sp>
        <p:nvSpPr>
          <p:cNvPr id="586" name="Rectangle 585">
            <a:extLst>
              <a:ext uri="{FF2B5EF4-FFF2-40B4-BE49-F238E27FC236}">
                <a16:creationId xmlns:a16="http://schemas.microsoft.com/office/drawing/2014/main" id="{2F9A6AFB-E004-4D4C-AA16-2957A8F4EFF1}"/>
              </a:ext>
            </a:extLst>
          </p:cNvPr>
          <p:cNvSpPr/>
          <p:nvPr/>
        </p:nvSpPr>
        <p:spPr>
          <a:xfrm>
            <a:off x="7330159" y="2625086"/>
            <a:ext cx="777240" cy="7772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Specific migration </a:t>
            </a:r>
            <a:br>
              <a:rPr kumimoji="0" lang="en-US" sz="900" b="0" i="0" u="none" strike="noStrike" kern="1200" cap="none" spc="0" normalizeH="0" baseline="0" noProof="0">
                <a:ln>
                  <a:noFill/>
                </a:ln>
                <a:solidFill>
                  <a:prstClr val="black"/>
                </a:solidFill>
                <a:effectLst/>
                <a:uLnTx/>
                <a:uFillTx/>
                <a:latin typeface="Segoe UI"/>
                <a:ea typeface="+mn-ea"/>
                <a:cs typeface="+mn-cs"/>
              </a:rPr>
            </a:br>
            <a:r>
              <a:rPr kumimoji="0" lang="en-US" sz="900" b="0" i="0" u="none" strike="noStrike" kern="1200" cap="none" spc="0" normalizeH="0" baseline="0" noProof="0">
                <a:ln>
                  <a:noFill/>
                </a:ln>
                <a:solidFill>
                  <a:prstClr val="black"/>
                </a:solidFill>
                <a:effectLst/>
                <a:uLnTx/>
                <a:uFillTx/>
                <a:latin typeface="Segoe UI"/>
                <a:ea typeface="+mn-ea"/>
                <a:cs typeface="+mn-cs"/>
              </a:rPr>
              <a:t>workloads committed</a:t>
            </a:r>
          </a:p>
        </p:txBody>
      </p:sp>
      <p:sp>
        <p:nvSpPr>
          <p:cNvPr id="679" name="Freeform: Shape 678">
            <a:extLst>
              <a:ext uri="{FF2B5EF4-FFF2-40B4-BE49-F238E27FC236}">
                <a16:creationId xmlns:a16="http://schemas.microsoft.com/office/drawing/2014/main" id="{247B31A2-4E42-46E9-A275-83FA998BBE37}"/>
              </a:ext>
            </a:extLst>
          </p:cNvPr>
          <p:cNvSpPr/>
          <p:nvPr/>
        </p:nvSpPr>
        <p:spPr>
          <a:xfrm>
            <a:off x="12412" y="2625086"/>
            <a:ext cx="777240" cy="777240"/>
          </a:xfrm>
          <a:custGeom>
            <a:avLst/>
            <a:gdLst>
              <a:gd name="connsiteX0" fmla="*/ 768485 w 773684"/>
              <a:gd name="connsiteY0" fmla="*/ 779319 h 779319"/>
              <a:gd name="connsiteX1" fmla="*/ 0 w 773684"/>
              <a:gd name="connsiteY1" fmla="*/ 779319 h 779319"/>
              <a:gd name="connsiteX2" fmla="*/ 0 w 773684"/>
              <a:gd name="connsiteY2" fmla="*/ 0 h 779319"/>
              <a:gd name="connsiteX3" fmla="*/ 768485 w 773684"/>
              <a:gd name="connsiteY3" fmla="*/ 0 h 779319"/>
              <a:gd name="connsiteX4" fmla="*/ 773684 w 773684"/>
              <a:gd name="connsiteY4" fmla="*/ 786 h 779319"/>
              <a:gd name="connsiteX5" fmla="*/ 773684 w 773684"/>
              <a:gd name="connsiteY5" fmla="*/ 778533 h 77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684" h="779319">
                <a:moveTo>
                  <a:pt x="768485" y="779319"/>
                </a:moveTo>
                <a:lnTo>
                  <a:pt x="0" y="779319"/>
                </a:lnTo>
                <a:lnTo>
                  <a:pt x="0" y="0"/>
                </a:lnTo>
                <a:lnTo>
                  <a:pt x="768485" y="0"/>
                </a:lnTo>
                <a:lnTo>
                  <a:pt x="773684" y="786"/>
                </a:lnTo>
                <a:lnTo>
                  <a:pt x="773684" y="7785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chemeClr val="tx1"/>
                </a:solidFill>
                <a:effectLst/>
                <a:uLnTx/>
                <a:uFillTx/>
                <a:latin typeface="Segoe UI"/>
                <a:ea typeface="+mn-ea"/>
                <a:cs typeface="+mn-cs"/>
              </a:rPr>
              <a:t>High level business strategy</a:t>
            </a:r>
          </a:p>
        </p:txBody>
      </p:sp>
      <p:sp>
        <p:nvSpPr>
          <p:cNvPr id="584" name="Rectangle 583">
            <a:extLst>
              <a:ext uri="{FF2B5EF4-FFF2-40B4-BE49-F238E27FC236}">
                <a16:creationId xmlns:a16="http://schemas.microsoft.com/office/drawing/2014/main" id="{0A0707BB-A322-4B6B-A51C-BA32BC32B9BF}"/>
              </a:ext>
            </a:extLst>
          </p:cNvPr>
          <p:cNvSpPr/>
          <p:nvPr/>
        </p:nvSpPr>
        <p:spPr>
          <a:xfrm>
            <a:off x="825495" y="2625086"/>
            <a:ext cx="777240" cy="777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chemeClr val="tx1"/>
                </a:solidFill>
                <a:effectLst/>
                <a:uLnTx/>
                <a:uFillTx/>
                <a:latin typeface="Segoe UI"/>
                <a:ea typeface="+mn-ea"/>
                <a:cs typeface="+mn-cs"/>
              </a:rPr>
              <a:t>Key stakeholder </a:t>
            </a:r>
            <a:br>
              <a:rPr kumimoji="0" lang="en-IN" sz="900" b="0" i="0" u="none" strike="noStrike" kern="1200" cap="none" spc="0" normalizeH="0" baseline="0" noProof="0">
                <a:ln>
                  <a:noFill/>
                </a:ln>
                <a:solidFill>
                  <a:schemeClr val="tx1"/>
                </a:solidFill>
                <a:effectLst/>
                <a:uLnTx/>
                <a:uFillTx/>
                <a:latin typeface="Segoe UI"/>
                <a:ea typeface="+mn-ea"/>
                <a:cs typeface="+mn-cs"/>
              </a:rPr>
            </a:br>
            <a:r>
              <a:rPr kumimoji="0" lang="en-IN" sz="900" b="0" i="0" u="none" strike="noStrike" kern="1200" cap="none" spc="0" normalizeH="0" baseline="0" noProof="0">
                <a:ln>
                  <a:noFill/>
                </a:ln>
                <a:solidFill>
                  <a:schemeClr val="tx1"/>
                </a:solidFill>
                <a:effectLst/>
                <a:uLnTx/>
                <a:uFillTx/>
                <a:latin typeface="Segoe UI"/>
                <a:ea typeface="+mn-ea"/>
                <a:cs typeface="+mn-cs"/>
              </a:rPr>
              <a:t>sign off</a:t>
            </a:r>
          </a:p>
        </p:txBody>
      </p:sp>
      <p:sp>
        <p:nvSpPr>
          <p:cNvPr id="583" name="Rectangle 582">
            <a:extLst>
              <a:ext uri="{FF2B5EF4-FFF2-40B4-BE49-F238E27FC236}">
                <a16:creationId xmlns:a16="http://schemas.microsoft.com/office/drawing/2014/main" id="{C0AF7ED4-3A22-4C5D-8827-F5A4BAE61426}"/>
              </a:ext>
            </a:extLst>
          </p:cNvPr>
          <p:cNvSpPr/>
          <p:nvPr/>
        </p:nvSpPr>
        <p:spPr>
          <a:xfrm>
            <a:off x="1638578" y="2625086"/>
            <a:ext cx="777240" cy="777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kumimoji="0" lang="en-US" sz="900" b="0" i="0" u="none" strike="noStrike" kern="1200" cap="none" spc="0" normalizeH="0" baseline="0" noProof="0">
                <a:ln>
                  <a:noFill/>
                </a:ln>
                <a:solidFill>
                  <a:prstClr val="black"/>
                </a:solidFill>
                <a:effectLst/>
                <a:uLnTx/>
                <a:uFillTx/>
                <a:latin typeface="Segoe UI"/>
                <a:ea typeface="+mn-ea"/>
                <a:cs typeface="+mn-cs"/>
              </a:rPr>
              <a:t>Migration funding committed </a:t>
            </a:r>
            <a:endParaRPr kumimoji="0" lang="en-IN" sz="900" b="0" i="0" u="none" strike="noStrike" kern="1200" cap="none" spc="0" normalizeH="0" baseline="0" noProof="0">
              <a:ln>
                <a:noFill/>
              </a:ln>
              <a:solidFill>
                <a:prstClr val="black"/>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Segoe UI"/>
              <a:ea typeface="+mn-ea"/>
              <a:cs typeface="+mn-cs"/>
            </a:endParaRPr>
          </a:p>
        </p:txBody>
      </p:sp>
      <p:sp>
        <p:nvSpPr>
          <p:cNvPr id="561" name="Rectangle 560">
            <a:extLst>
              <a:ext uri="{FF2B5EF4-FFF2-40B4-BE49-F238E27FC236}">
                <a16:creationId xmlns:a16="http://schemas.microsoft.com/office/drawing/2014/main" id="{B4D0732C-DAED-49C1-B17D-3AEA4939923E}"/>
              </a:ext>
            </a:extLst>
          </p:cNvPr>
          <p:cNvSpPr/>
          <p:nvPr/>
        </p:nvSpPr>
        <p:spPr>
          <a:xfrm>
            <a:off x="2451661" y="2625086"/>
            <a:ext cx="777240" cy="777240"/>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Migration and Operation Partner</a:t>
            </a:r>
          </a:p>
        </p:txBody>
      </p:sp>
      <p:sp>
        <p:nvSpPr>
          <p:cNvPr id="524" name="Freeform: Shape 523">
            <a:extLst>
              <a:ext uri="{FF2B5EF4-FFF2-40B4-BE49-F238E27FC236}">
                <a16:creationId xmlns:a16="http://schemas.microsoft.com/office/drawing/2014/main" id="{7A693F51-D7B4-4D06-B065-2394DBF03D09}"/>
              </a:ext>
            </a:extLst>
          </p:cNvPr>
          <p:cNvSpPr/>
          <p:nvPr/>
        </p:nvSpPr>
        <p:spPr>
          <a:xfrm>
            <a:off x="9769408" y="2625086"/>
            <a:ext cx="777240" cy="777240"/>
          </a:xfrm>
          <a:custGeom>
            <a:avLst/>
            <a:gdLst>
              <a:gd name="connsiteX0" fmla="*/ 779320 w 779320"/>
              <a:gd name="connsiteY0" fmla="*/ 312928 h 312928"/>
              <a:gd name="connsiteX1" fmla="*/ 0 w 779320"/>
              <a:gd name="connsiteY1" fmla="*/ 312928 h 312928"/>
              <a:gd name="connsiteX2" fmla="*/ 0 w 779320"/>
              <a:gd name="connsiteY2" fmla="*/ 0 h 312928"/>
              <a:gd name="connsiteX3" fmla="*/ 779320 w 779320"/>
              <a:gd name="connsiteY3" fmla="*/ 0 h 312928"/>
              <a:gd name="connsiteX4" fmla="*/ 779320 w 779320"/>
              <a:gd name="connsiteY4" fmla="*/ 312928 h 312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12928">
                <a:moveTo>
                  <a:pt x="779320" y="312928"/>
                </a:moveTo>
                <a:lnTo>
                  <a:pt x="0" y="312928"/>
                </a:lnTo>
                <a:lnTo>
                  <a:pt x="0" y="0"/>
                </a:lnTo>
                <a:lnTo>
                  <a:pt x="779320" y="0"/>
                </a:lnTo>
                <a:lnTo>
                  <a:pt x="779320" y="31292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900">
                <a:solidFill>
                  <a:prstClr val="white"/>
                </a:solidFill>
                <a:latin typeface="Segoe UI"/>
              </a:rPr>
              <a:t>Networking Landing Zone</a:t>
            </a:r>
            <a:endParaRPr kumimoji="0" lang="en-US" sz="900" b="0" i="0" u="none" strike="noStrike" kern="1200" cap="none" spc="0" normalizeH="0" baseline="0" noProof="0">
              <a:ln>
                <a:noFill/>
              </a:ln>
              <a:solidFill>
                <a:prstClr val="white"/>
              </a:solidFill>
              <a:effectLst/>
              <a:uLnTx/>
              <a:uFillTx/>
              <a:latin typeface="Segoe UI"/>
              <a:ea typeface="+mn-ea"/>
              <a:cs typeface="+mn-cs"/>
            </a:endParaRPr>
          </a:p>
        </p:txBody>
      </p:sp>
      <p:sp>
        <p:nvSpPr>
          <p:cNvPr id="486" name="Rectangle 485">
            <a:extLst>
              <a:ext uri="{FF2B5EF4-FFF2-40B4-BE49-F238E27FC236}">
                <a16:creationId xmlns:a16="http://schemas.microsoft.com/office/drawing/2014/main" id="{19CBAE34-9DE4-43F3-99D6-ADDE8274EF5A}"/>
              </a:ext>
            </a:extLst>
          </p:cNvPr>
          <p:cNvSpPr/>
          <p:nvPr/>
        </p:nvSpPr>
        <p:spPr>
          <a:xfrm>
            <a:off x="3264744" y="2625086"/>
            <a:ext cx="777240" cy="7772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kumimoji="0" lang="en-US" sz="900" b="0" i="0" u="none" strike="noStrike" kern="1200" cap="none" spc="0" normalizeH="0" baseline="0" noProof="0">
                <a:ln>
                  <a:noFill/>
                </a:ln>
                <a:solidFill>
                  <a:prstClr val="black"/>
                </a:solidFill>
                <a:effectLst/>
                <a:uLnTx/>
                <a:uFillTx/>
                <a:latin typeface="Segoe UI"/>
                <a:ea typeface="+mn-ea"/>
                <a:cs typeface="+mn-cs"/>
              </a:rPr>
              <a:t>Assessment</a:t>
            </a:r>
          </a:p>
        </p:txBody>
      </p:sp>
      <p:sp>
        <p:nvSpPr>
          <p:cNvPr id="15" name="Block Arc 14" hidden="1">
            <a:extLst>
              <a:ext uri="{FF2B5EF4-FFF2-40B4-BE49-F238E27FC236}">
                <a16:creationId xmlns:a16="http://schemas.microsoft.com/office/drawing/2014/main" id="{A18A1384-F91F-4133-8581-21B262F0D566}"/>
              </a:ext>
            </a:extLst>
          </p:cNvPr>
          <p:cNvSpPr/>
          <p:nvPr>
            <p:custDataLst>
              <p:tags r:id="rId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17" name="Block Arc 16" hidden="1">
            <a:extLst>
              <a:ext uri="{FF2B5EF4-FFF2-40B4-BE49-F238E27FC236}">
                <a16:creationId xmlns:a16="http://schemas.microsoft.com/office/drawing/2014/main" id="{CA0E8247-89D9-4381-A9C1-5232384FC9B2}"/>
              </a:ext>
            </a:extLst>
          </p:cNvPr>
          <p:cNvSpPr/>
          <p:nvPr>
            <p:custDataLst>
              <p:tags r:id="rId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3" name="Block Arc 22" hidden="1">
            <a:extLst>
              <a:ext uri="{FF2B5EF4-FFF2-40B4-BE49-F238E27FC236}">
                <a16:creationId xmlns:a16="http://schemas.microsoft.com/office/drawing/2014/main" id="{D7255DD1-948A-4469-BAB1-AF89D0CB1AD1}"/>
              </a:ext>
            </a:extLst>
          </p:cNvPr>
          <p:cNvSpPr/>
          <p:nvPr>
            <p:custDataLst>
              <p:tags r:id="rId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6" name="Block Arc 25" hidden="1">
            <a:extLst>
              <a:ext uri="{FF2B5EF4-FFF2-40B4-BE49-F238E27FC236}">
                <a16:creationId xmlns:a16="http://schemas.microsoft.com/office/drawing/2014/main" id="{D74EB622-F971-419C-885C-E52519A4A596}"/>
              </a:ext>
            </a:extLst>
          </p:cNvPr>
          <p:cNvSpPr/>
          <p:nvPr>
            <p:custDataLst>
              <p:tags r:id="rId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7" name="Block Arc 26" hidden="1">
            <a:extLst>
              <a:ext uri="{FF2B5EF4-FFF2-40B4-BE49-F238E27FC236}">
                <a16:creationId xmlns:a16="http://schemas.microsoft.com/office/drawing/2014/main" id="{B1FB3A85-113B-45B8-B2A3-CF9953B085F4}"/>
              </a:ext>
            </a:extLst>
          </p:cNvPr>
          <p:cNvSpPr/>
          <p:nvPr>
            <p:custDataLst>
              <p:tags r:id="rId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8" name="Block Arc 27" hidden="1">
            <a:extLst>
              <a:ext uri="{FF2B5EF4-FFF2-40B4-BE49-F238E27FC236}">
                <a16:creationId xmlns:a16="http://schemas.microsoft.com/office/drawing/2014/main" id="{41448AB2-61E7-4C59-B652-7AFDDAEFA523}"/>
              </a:ext>
            </a:extLst>
          </p:cNvPr>
          <p:cNvSpPr/>
          <p:nvPr>
            <p:custDataLst>
              <p:tags r:id="rId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9" name="Block Arc 28" hidden="1">
            <a:extLst>
              <a:ext uri="{FF2B5EF4-FFF2-40B4-BE49-F238E27FC236}">
                <a16:creationId xmlns:a16="http://schemas.microsoft.com/office/drawing/2014/main" id="{4E6E3E34-F0AD-4109-831D-CB8202C3996C}"/>
              </a:ext>
            </a:extLst>
          </p:cNvPr>
          <p:cNvSpPr/>
          <p:nvPr>
            <p:custDataLst>
              <p:tags r:id="rId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0" name="Block Arc 29" hidden="1">
            <a:extLst>
              <a:ext uri="{FF2B5EF4-FFF2-40B4-BE49-F238E27FC236}">
                <a16:creationId xmlns:a16="http://schemas.microsoft.com/office/drawing/2014/main" id="{1E61BB00-EDC0-4DDB-A73E-71A19E312297}"/>
              </a:ext>
            </a:extLst>
          </p:cNvPr>
          <p:cNvSpPr/>
          <p:nvPr>
            <p:custDataLst>
              <p:tags r:id="rId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3" name="Block Arc 32" hidden="1">
            <a:extLst>
              <a:ext uri="{FF2B5EF4-FFF2-40B4-BE49-F238E27FC236}">
                <a16:creationId xmlns:a16="http://schemas.microsoft.com/office/drawing/2014/main" id="{85313246-C395-44AC-B163-BA9C7FDE02E4}"/>
              </a:ext>
            </a:extLst>
          </p:cNvPr>
          <p:cNvSpPr/>
          <p:nvPr>
            <p:custDataLst>
              <p:tags r:id="rId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5" name="Block Arc 34" hidden="1">
            <a:extLst>
              <a:ext uri="{FF2B5EF4-FFF2-40B4-BE49-F238E27FC236}">
                <a16:creationId xmlns:a16="http://schemas.microsoft.com/office/drawing/2014/main" id="{2F342779-D99F-4D2B-BBB8-D0C6029F5098}"/>
              </a:ext>
            </a:extLst>
          </p:cNvPr>
          <p:cNvSpPr/>
          <p:nvPr>
            <p:custDataLst>
              <p:tags r:id="rId1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6" name="Block Arc 35" hidden="1">
            <a:extLst>
              <a:ext uri="{FF2B5EF4-FFF2-40B4-BE49-F238E27FC236}">
                <a16:creationId xmlns:a16="http://schemas.microsoft.com/office/drawing/2014/main" id="{2939FF9C-A55F-4F65-9901-BCA07757F53E}"/>
              </a:ext>
            </a:extLst>
          </p:cNvPr>
          <p:cNvSpPr/>
          <p:nvPr>
            <p:custDataLst>
              <p:tags r:id="rId1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7" name="Block Arc 36" hidden="1">
            <a:extLst>
              <a:ext uri="{FF2B5EF4-FFF2-40B4-BE49-F238E27FC236}">
                <a16:creationId xmlns:a16="http://schemas.microsoft.com/office/drawing/2014/main" id="{AAE137F4-EB5C-4347-9002-0C0518190772}"/>
              </a:ext>
            </a:extLst>
          </p:cNvPr>
          <p:cNvSpPr/>
          <p:nvPr>
            <p:custDataLst>
              <p:tags r:id="rId1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8" name="Block Arc 37" hidden="1">
            <a:extLst>
              <a:ext uri="{FF2B5EF4-FFF2-40B4-BE49-F238E27FC236}">
                <a16:creationId xmlns:a16="http://schemas.microsoft.com/office/drawing/2014/main" id="{D2A03A81-BE5F-40A2-91B5-F54A7A1B2AB3}"/>
              </a:ext>
            </a:extLst>
          </p:cNvPr>
          <p:cNvSpPr/>
          <p:nvPr>
            <p:custDataLst>
              <p:tags r:id="rId1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9" name="Block Arc 38" hidden="1">
            <a:extLst>
              <a:ext uri="{FF2B5EF4-FFF2-40B4-BE49-F238E27FC236}">
                <a16:creationId xmlns:a16="http://schemas.microsoft.com/office/drawing/2014/main" id="{9F67D441-7D5A-4630-BF04-367A7AA68204}"/>
              </a:ext>
            </a:extLst>
          </p:cNvPr>
          <p:cNvSpPr/>
          <p:nvPr>
            <p:custDataLst>
              <p:tags r:id="rId1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0" name="Block Arc 39" hidden="1">
            <a:extLst>
              <a:ext uri="{FF2B5EF4-FFF2-40B4-BE49-F238E27FC236}">
                <a16:creationId xmlns:a16="http://schemas.microsoft.com/office/drawing/2014/main" id="{E75B721D-095F-4AE6-B1F2-B861CF651C3B}"/>
              </a:ext>
            </a:extLst>
          </p:cNvPr>
          <p:cNvSpPr/>
          <p:nvPr>
            <p:custDataLst>
              <p:tags r:id="rId15"/>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1" name="Block Arc 40" hidden="1">
            <a:extLst>
              <a:ext uri="{FF2B5EF4-FFF2-40B4-BE49-F238E27FC236}">
                <a16:creationId xmlns:a16="http://schemas.microsoft.com/office/drawing/2014/main" id="{10330C2F-A17D-48C8-9A5E-F4D6E254C4AF}"/>
              </a:ext>
            </a:extLst>
          </p:cNvPr>
          <p:cNvSpPr/>
          <p:nvPr>
            <p:custDataLst>
              <p:tags r:id="rId16"/>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2" name="Block Arc 41" hidden="1">
            <a:extLst>
              <a:ext uri="{FF2B5EF4-FFF2-40B4-BE49-F238E27FC236}">
                <a16:creationId xmlns:a16="http://schemas.microsoft.com/office/drawing/2014/main" id="{677BB4B9-E6C8-4F9C-B35A-187EEE981FAE}"/>
              </a:ext>
            </a:extLst>
          </p:cNvPr>
          <p:cNvSpPr/>
          <p:nvPr>
            <p:custDataLst>
              <p:tags r:id="rId17"/>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3" name="Block Arc 42" hidden="1">
            <a:extLst>
              <a:ext uri="{FF2B5EF4-FFF2-40B4-BE49-F238E27FC236}">
                <a16:creationId xmlns:a16="http://schemas.microsoft.com/office/drawing/2014/main" id="{1C5B02EB-66CD-4E46-839C-1AECF992732C}"/>
              </a:ext>
            </a:extLst>
          </p:cNvPr>
          <p:cNvSpPr/>
          <p:nvPr>
            <p:custDataLst>
              <p:tags r:id="rId18"/>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4" name="Block Arc 43" hidden="1">
            <a:extLst>
              <a:ext uri="{FF2B5EF4-FFF2-40B4-BE49-F238E27FC236}">
                <a16:creationId xmlns:a16="http://schemas.microsoft.com/office/drawing/2014/main" id="{33586051-4921-44B1-A1CC-0FAB49A33A6C}"/>
              </a:ext>
            </a:extLst>
          </p:cNvPr>
          <p:cNvSpPr/>
          <p:nvPr>
            <p:custDataLst>
              <p:tags r:id="rId19"/>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5" name="Block Arc 44" hidden="1">
            <a:extLst>
              <a:ext uri="{FF2B5EF4-FFF2-40B4-BE49-F238E27FC236}">
                <a16:creationId xmlns:a16="http://schemas.microsoft.com/office/drawing/2014/main" id="{827CA672-F4AE-4B78-A91A-DD06C5FE7E52}"/>
              </a:ext>
            </a:extLst>
          </p:cNvPr>
          <p:cNvSpPr/>
          <p:nvPr>
            <p:custDataLst>
              <p:tags r:id="rId20"/>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6" name="Block Arc 45" hidden="1">
            <a:extLst>
              <a:ext uri="{FF2B5EF4-FFF2-40B4-BE49-F238E27FC236}">
                <a16:creationId xmlns:a16="http://schemas.microsoft.com/office/drawing/2014/main" id="{2E8F78A2-E2EB-463A-AB92-DB2595C5D22C}"/>
              </a:ext>
            </a:extLst>
          </p:cNvPr>
          <p:cNvSpPr/>
          <p:nvPr>
            <p:custDataLst>
              <p:tags r:id="rId21"/>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7" name="Block Arc 46" hidden="1">
            <a:extLst>
              <a:ext uri="{FF2B5EF4-FFF2-40B4-BE49-F238E27FC236}">
                <a16:creationId xmlns:a16="http://schemas.microsoft.com/office/drawing/2014/main" id="{E7B4938F-5CCC-4B34-AF6C-10697A12F172}"/>
              </a:ext>
            </a:extLst>
          </p:cNvPr>
          <p:cNvSpPr/>
          <p:nvPr>
            <p:custDataLst>
              <p:tags r:id="rId22"/>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8" name="Block Arc 47" hidden="1">
            <a:extLst>
              <a:ext uri="{FF2B5EF4-FFF2-40B4-BE49-F238E27FC236}">
                <a16:creationId xmlns:a16="http://schemas.microsoft.com/office/drawing/2014/main" id="{B351F859-22F4-4CB6-B811-4244CBA38CE0}"/>
              </a:ext>
            </a:extLst>
          </p:cNvPr>
          <p:cNvSpPr/>
          <p:nvPr>
            <p:custDataLst>
              <p:tags r:id="rId23"/>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9" name="Block Arc 48" hidden="1">
            <a:extLst>
              <a:ext uri="{FF2B5EF4-FFF2-40B4-BE49-F238E27FC236}">
                <a16:creationId xmlns:a16="http://schemas.microsoft.com/office/drawing/2014/main" id="{EF705391-DFCE-45B2-BA0F-B10568FED03E}"/>
              </a:ext>
            </a:extLst>
          </p:cNvPr>
          <p:cNvSpPr/>
          <p:nvPr>
            <p:custDataLst>
              <p:tags r:id="rId24"/>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4" name="Block Arc 53" hidden="1">
            <a:extLst>
              <a:ext uri="{FF2B5EF4-FFF2-40B4-BE49-F238E27FC236}">
                <a16:creationId xmlns:a16="http://schemas.microsoft.com/office/drawing/2014/main" id="{B0DC1832-E02E-4103-BB17-44B14A2E3AD5}"/>
              </a:ext>
            </a:extLst>
          </p:cNvPr>
          <p:cNvSpPr/>
          <p:nvPr>
            <p:custDataLst>
              <p:tags r:id="rId25"/>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5" name="Block Arc 54" hidden="1">
            <a:extLst>
              <a:ext uri="{FF2B5EF4-FFF2-40B4-BE49-F238E27FC236}">
                <a16:creationId xmlns:a16="http://schemas.microsoft.com/office/drawing/2014/main" id="{5EED955F-38EF-4702-9E30-94057FC6EE19}"/>
              </a:ext>
            </a:extLst>
          </p:cNvPr>
          <p:cNvSpPr/>
          <p:nvPr>
            <p:custDataLst>
              <p:tags r:id="rId26"/>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7" name="Block Arc 56" hidden="1">
            <a:extLst>
              <a:ext uri="{FF2B5EF4-FFF2-40B4-BE49-F238E27FC236}">
                <a16:creationId xmlns:a16="http://schemas.microsoft.com/office/drawing/2014/main" id="{1B1F8B74-0D18-4531-9BF7-00A9FCB0F023}"/>
              </a:ext>
            </a:extLst>
          </p:cNvPr>
          <p:cNvSpPr/>
          <p:nvPr>
            <p:custDataLst>
              <p:tags r:id="rId27"/>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8" name="Block Arc 57" hidden="1">
            <a:extLst>
              <a:ext uri="{FF2B5EF4-FFF2-40B4-BE49-F238E27FC236}">
                <a16:creationId xmlns:a16="http://schemas.microsoft.com/office/drawing/2014/main" id="{8F7B0D4F-DA60-46CF-B4DC-C4C19FFD8A68}"/>
              </a:ext>
            </a:extLst>
          </p:cNvPr>
          <p:cNvSpPr/>
          <p:nvPr>
            <p:custDataLst>
              <p:tags r:id="rId28"/>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1" name="Block Arc 60" hidden="1">
            <a:extLst>
              <a:ext uri="{FF2B5EF4-FFF2-40B4-BE49-F238E27FC236}">
                <a16:creationId xmlns:a16="http://schemas.microsoft.com/office/drawing/2014/main" id="{3B847CDC-5350-4F2D-857A-9B7042249318}"/>
              </a:ext>
            </a:extLst>
          </p:cNvPr>
          <p:cNvSpPr/>
          <p:nvPr>
            <p:custDataLst>
              <p:tags r:id="rId29"/>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2" name="Block Arc 61" hidden="1">
            <a:extLst>
              <a:ext uri="{FF2B5EF4-FFF2-40B4-BE49-F238E27FC236}">
                <a16:creationId xmlns:a16="http://schemas.microsoft.com/office/drawing/2014/main" id="{3AD5CCAF-D5D1-4FEF-ACEA-E1419B3A9CEF}"/>
              </a:ext>
            </a:extLst>
          </p:cNvPr>
          <p:cNvSpPr/>
          <p:nvPr>
            <p:custDataLst>
              <p:tags r:id="rId30"/>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5" name="Block Arc 64" hidden="1">
            <a:extLst>
              <a:ext uri="{FF2B5EF4-FFF2-40B4-BE49-F238E27FC236}">
                <a16:creationId xmlns:a16="http://schemas.microsoft.com/office/drawing/2014/main" id="{9B7269F6-9668-4C7F-AF55-9301EAF382B6}"/>
              </a:ext>
            </a:extLst>
          </p:cNvPr>
          <p:cNvSpPr/>
          <p:nvPr>
            <p:custDataLst>
              <p:tags r:id="rId3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6" name="Block Arc 65" hidden="1">
            <a:extLst>
              <a:ext uri="{FF2B5EF4-FFF2-40B4-BE49-F238E27FC236}">
                <a16:creationId xmlns:a16="http://schemas.microsoft.com/office/drawing/2014/main" id="{8F38B48A-7566-424D-9197-595C777958EA}"/>
              </a:ext>
            </a:extLst>
          </p:cNvPr>
          <p:cNvSpPr/>
          <p:nvPr>
            <p:custDataLst>
              <p:tags r:id="rId3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9" name="Block Arc 68" hidden="1">
            <a:extLst>
              <a:ext uri="{FF2B5EF4-FFF2-40B4-BE49-F238E27FC236}">
                <a16:creationId xmlns:a16="http://schemas.microsoft.com/office/drawing/2014/main" id="{45E93407-AFD6-43A3-B1FB-BA21B80DA0A0}"/>
              </a:ext>
            </a:extLst>
          </p:cNvPr>
          <p:cNvSpPr/>
          <p:nvPr>
            <p:custDataLst>
              <p:tags r:id="rId3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0" name="Block Arc 69" hidden="1">
            <a:extLst>
              <a:ext uri="{FF2B5EF4-FFF2-40B4-BE49-F238E27FC236}">
                <a16:creationId xmlns:a16="http://schemas.microsoft.com/office/drawing/2014/main" id="{127E5F4C-3E5A-4DA9-B56D-A627EF2AFB83}"/>
              </a:ext>
            </a:extLst>
          </p:cNvPr>
          <p:cNvSpPr/>
          <p:nvPr>
            <p:custDataLst>
              <p:tags r:id="rId3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2" name="Block Arc 71" hidden="1">
            <a:extLst>
              <a:ext uri="{FF2B5EF4-FFF2-40B4-BE49-F238E27FC236}">
                <a16:creationId xmlns:a16="http://schemas.microsoft.com/office/drawing/2014/main" id="{159E1B29-2875-4AD5-8CBC-04C905CA0E4F}"/>
              </a:ext>
            </a:extLst>
          </p:cNvPr>
          <p:cNvSpPr/>
          <p:nvPr>
            <p:custDataLst>
              <p:tags r:id="rId3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3" name="Block Arc 72" hidden="1">
            <a:extLst>
              <a:ext uri="{FF2B5EF4-FFF2-40B4-BE49-F238E27FC236}">
                <a16:creationId xmlns:a16="http://schemas.microsoft.com/office/drawing/2014/main" id="{F0B37446-888E-4109-8629-B4A8F7518CD9}"/>
              </a:ext>
            </a:extLst>
          </p:cNvPr>
          <p:cNvSpPr/>
          <p:nvPr>
            <p:custDataLst>
              <p:tags r:id="rId3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4" name="Block Arc 73" hidden="1">
            <a:extLst>
              <a:ext uri="{FF2B5EF4-FFF2-40B4-BE49-F238E27FC236}">
                <a16:creationId xmlns:a16="http://schemas.microsoft.com/office/drawing/2014/main" id="{B5DB7AF2-B7FD-475D-8A4C-65670032F291}"/>
              </a:ext>
            </a:extLst>
          </p:cNvPr>
          <p:cNvSpPr/>
          <p:nvPr>
            <p:custDataLst>
              <p:tags r:id="rId3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6" name="Block Arc 75" hidden="1">
            <a:extLst>
              <a:ext uri="{FF2B5EF4-FFF2-40B4-BE49-F238E27FC236}">
                <a16:creationId xmlns:a16="http://schemas.microsoft.com/office/drawing/2014/main" id="{09053CC4-4BC3-43DF-9F5E-D2E40A5E27AE}"/>
              </a:ext>
            </a:extLst>
          </p:cNvPr>
          <p:cNvSpPr/>
          <p:nvPr>
            <p:custDataLst>
              <p:tags r:id="rId3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7" name="Block Arc 76" hidden="1">
            <a:extLst>
              <a:ext uri="{FF2B5EF4-FFF2-40B4-BE49-F238E27FC236}">
                <a16:creationId xmlns:a16="http://schemas.microsoft.com/office/drawing/2014/main" id="{E4AA8FAB-6CDF-43EB-8CF3-D16331F56B02}"/>
              </a:ext>
            </a:extLst>
          </p:cNvPr>
          <p:cNvSpPr/>
          <p:nvPr>
            <p:custDataLst>
              <p:tags r:id="rId3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8" name="Block Arc 77" hidden="1">
            <a:extLst>
              <a:ext uri="{FF2B5EF4-FFF2-40B4-BE49-F238E27FC236}">
                <a16:creationId xmlns:a16="http://schemas.microsoft.com/office/drawing/2014/main" id="{3950F418-44C1-4685-9ACE-CC2B3268A39F}"/>
              </a:ext>
            </a:extLst>
          </p:cNvPr>
          <p:cNvSpPr/>
          <p:nvPr>
            <p:custDataLst>
              <p:tags r:id="rId4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9" name="Block Arc 78" hidden="1">
            <a:extLst>
              <a:ext uri="{FF2B5EF4-FFF2-40B4-BE49-F238E27FC236}">
                <a16:creationId xmlns:a16="http://schemas.microsoft.com/office/drawing/2014/main" id="{9D52F3FB-E9C9-4A22-8B6E-F9CA99461407}"/>
              </a:ext>
            </a:extLst>
          </p:cNvPr>
          <p:cNvSpPr/>
          <p:nvPr>
            <p:custDataLst>
              <p:tags r:id="rId4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0" name="Block Arc 79" hidden="1">
            <a:extLst>
              <a:ext uri="{FF2B5EF4-FFF2-40B4-BE49-F238E27FC236}">
                <a16:creationId xmlns:a16="http://schemas.microsoft.com/office/drawing/2014/main" id="{7507AA87-81CE-40EC-8667-AB50830C3177}"/>
              </a:ext>
            </a:extLst>
          </p:cNvPr>
          <p:cNvSpPr/>
          <p:nvPr>
            <p:custDataLst>
              <p:tags r:id="rId4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1" name="Block Arc 80" hidden="1">
            <a:extLst>
              <a:ext uri="{FF2B5EF4-FFF2-40B4-BE49-F238E27FC236}">
                <a16:creationId xmlns:a16="http://schemas.microsoft.com/office/drawing/2014/main" id="{E4DDD3D8-A045-4BFC-ADBA-7804EB9D4B5B}"/>
              </a:ext>
            </a:extLst>
          </p:cNvPr>
          <p:cNvSpPr/>
          <p:nvPr>
            <p:custDataLst>
              <p:tags r:id="rId4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2" name="Block Arc 81" hidden="1">
            <a:extLst>
              <a:ext uri="{FF2B5EF4-FFF2-40B4-BE49-F238E27FC236}">
                <a16:creationId xmlns:a16="http://schemas.microsoft.com/office/drawing/2014/main" id="{B7F22FCB-E891-49D5-8BE4-25F3140AD868}"/>
              </a:ext>
            </a:extLst>
          </p:cNvPr>
          <p:cNvSpPr/>
          <p:nvPr>
            <p:custDataLst>
              <p:tags r:id="rId4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97" name="Rectangle 96" hidden="1">
            <a:extLst>
              <a:ext uri="{FF2B5EF4-FFF2-40B4-BE49-F238E27FC236}">
                <a16:creationId xmlns:a16="http://schemas.microsoft.com/office/drawing/2014/main" id="{5DCDD05C-F233-4CD1-BDFF-2D2388751B22}"/>
              </a:ext>
              <a:ext uri="{C183D7F6-B498-43B3-948B-1728B52AA6E4}">
                <adec:decorative xmlns:adec="http://schemas.microsoft.com/office/drawing/2017/decorative" val="1"/>
              </a:ext>
            </a:extLst>
          </p:cNvPr>
          <p:cNvSpPr/>
          <p:nvPr/>
        </p:nvSpPr>
        <p:spPr>
          <a:xfrm>
            <a:off x="3048000" y="3036585"/>
            <a:ext cx="6096000" cy="369332"/>
          </a:xfrm>
          <a:prstGeom prst="rect">
            <a:avLst/>
          </a:prstGeom>
        </p:spPr>
        <p:txBody>
          <a:bodyPr>
            <a:spAutoFit/>
          </a:bodyPr>
          <a:lstStyle/>
          <a:p>
            <a:pPr marL="231775" marR="0" lvl="1" indent="-171450"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tab pos="225425" algn="l"/>
              </a:tabLst>
              <a:defRPr/>
            </a:pPr>
            <a:endParaRPr kumimoji="0" lang="en-IN"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311" name="Rectangle 310">
            <a:extLst>
              <a:ext uri="{FF2B5EF4-FFF2-40B4-BE49-F238E27FC236}">
                <a16:creationId xmlns:a16="http://schemas.microsoft.com/office/drawing/2014/main" id="{A70905CA-64C0-433B-82A9-F6BFC6DC309D}"/>
              </a:ext>
              <a:ext uri="{C183D7F6-B498-43B3-948B-1728B52AA6E4}">
                <adec:decorative xmlns:adec="http://schemas.microsoft.com/office/drawing/2017/decorative" val="1"/>
              </a:ext>
            </a:extLst>
          </p:cNvPr>
          <p:cNvSpPr/>
          <p:nvPr/>
        </p:nvSpPr>
        <p:spPr>
          <a:xfrm>
            <a:off x="9675342" y="2932474"/>
            <a:ext cx="776096" cy="820491"/>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endParaRPr kumimoji="0" lang="en-US" sz="950" b="0" i="0" u="none" strike="noStrike" kern="1200" cap="none" spc="0" normalizeH="0" baseline="0" noProof="0">
              <a:ln>
                <a:noFill/>
              </a:ln>
              <a:solidFill>
                <a:prstClr val="white"/>
              </a:solidFill>
              <a:effectLst/>
              <a:uLnTx/>
              <a:uFillTx/>
              <a:latin typeface="Segoe UI"/>
              <a:ea typeface="+mn-ea"/>
              <a:cs typeface="+mn-cs"/>
            </a:endParaRPr>
          </a:p>
        </p:txBody>
      </p:sp>
      <p:sp>
        <p:nvSpPr>
          <p:cNvPr id="684" name="Rectangle 683">
            <a:extLst>
              <a:ext uri="{FF2B5EF4-FFF2-40B4-BE49-F238E27FC236}">
                <a16:creationId xmlns:a16="http://schemas.microsoft.com/office/drawing/2014/main" id="{824393BB-CCE2-41C3-9372-E1EF464F8963}"/>
              </a:ext>
            </a:extLst>
          </p:cNvPr>
          <p:cNvSpPr/>
          <p:nvPr/>
        </p:nvSpPr>
        <p:spPr>
          <a:xfrm>
            <a:off x="315447" y="1825338"/>
            <a:ext cx="159355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Business strategy</a:t>
            </a:r>
            <a:endParaRPr kumimoji="0" lang="en-US" sz="1400" b="0" i="0" u="none" strike="noStrike" kern="1200" cap="none" spc="0" normalizeH="0" baseline="0" noProof="0">
              <a:ln>
                <a:noFill/>
              </a:ln>
              <a:solidFill>
                <a:prstClr val="white"/>
              </a:solidFill>
              <a:effectLst/>
              <a:uLnTx/>
              <a:uFillTx/>
              <a:latin typeface="Segoe UI Semibold"/>
              <a:ea typeface="Times New Roman" panose="02020603050405020304" pitchFamily="18" charset="0"/>
              <a:cs typeface="+mn-cs"/>
            </a:endParaRPr>
          </a:p>
        </p:txBody>
      </p:sp>
      <p:grpSp>
        <p:nvGrpSpPr>
          <p:cNvPr id="7" name="Group 6">
            <a:extLst>
              <a:ext uri="{FF2B5EF4-FFF2-40B4-BE49-F238E27FC236}">
                <a16:creationId xmlns:a16="http://schemas.microsoft.com/office/drawing/2014/main" id="{C45611C0-3F50-4282-A640-9F3547F2675F}"/>
              </a:ext>
              <a:ext uri="{C183D7F6-B498-43B3-948B-1728B52AA6E4}">
                <adec:decorative xmlns:adec="http://schemas.microsoft.com/office/drawing/2017/decorative" val="1"/>
              </a:ext>
            </a:extLst>
          </p:cNvPr>
          <p:cNvGrpSpPr/>
          <p:nvPr/>
        </p:nvGrpSpPr>
        <p:grpSpPr>
          <a:xfrm>
            <a:off x="449281" y="2161880"/>
            <a:ext cx="197618" cy="453304"/>
            <a:chOff x="559625" y="2541842"/>
            <a:chExt cx="197618" cy="453304"/>
          </a:xfrm>
        </p:grpSpPr>
        <p:sp>
          <p:nvSpPr>
            <p:cNvPr id="685" name="Diamond 684">
              <a:extLst>
                <a:ext uri="{FF2B5EF4-FFF2-40B4-BE49-F238E27FC236}">
                  <a16:creationId xmlns:a16="http://schemas.microsoft.com/office/drawing/2014/main" id="{4DE07F16-4D98-4CD8-8406-2ACBEC3B4086}"/>
                </a:ext>
              </a:extLst>
            </p:cNvPr>
            <p:cNvSpPr/>
            <p:nvPr/>
          </p:nvSpPr>
          <p:spPr>
            <a:xfrm>
              <a:off x="559625" y="2541842"/>
              <a:ext cx="197618" cy="183974"/>
            </a:xfrm>
            <a:prstGeom prst="diamond">
              <a:avLst/>
            </a:prstGeom>
            <a:solidFill>
              <a:schemeClr val="bg1">
                <a:lumMod val="9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6" name="Straight Connector 685">
              <a:extLst>
                <a:ext uri="{FF2B5EF4-FFF2-40B4-BE49-F238E27FC236}">
                  <a16:creationId xmlns:a16="http://schemas.microsoft.com/office/drawing/2014/main" id="{9DD5EB0D-0CE7-466B-966E-E78357269686}"/>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ACF631FF-D51E-4D19-8391-0236690CCEB6}"/>
              </a:ext>
              <a:ext uri="{C183D7F6-B498-43B3-948B-1728B52AA6E4}">
                <adec:decorative xmlns:adec="http://schemas.microsoft.com/office/drawing/2017/decorative" val="1"/>
              </a:ext>
            </a:extLst>
          </p:cNvPr>
          <p:cNvGrpSpPr/>
          <p:nvPr/>
        </p:nvGrpSpPr>
        <p:grpSpPr>
          <a:xfrm rot="10800000">
            <a:off x="2580819" y="3419053"/>
            <a:ext cx="197618" cy="453304"/>
            <a:chOff x="559625" y="2541842"/>
            <a:chExt cx="197618" cy="453304"/>
          </a:xfrm>
        </p:grpSpPr>
        <p:sp>
          <p:nvSpPr>
            <p:cNvPr id="688" name="Diamond 687">
              <a:extLst>
                <a:ext uri="{FF2B5EF4-FFF2-40B4-BE49-F238E27FC236}">
                  <a16:creationId xmlns:a16="http://schemas.microsoft.com/office/drawing/2014/main" id="{5FC2CE00-7C11-46F2-B8F1-EE479AC6CE9B}"/>
                </a:ext>
              </a:extLst>
            </p:cNvPr>
            <p:cNvSpPr/>
            <p:nvPr/>
          </p:nvSpPr>
          <p:spPr>
            <a:xfrm>
              <a:off x="559625" y="2541842"/>
              <a:ext cx="197618" cy="183974"/>
            </a:xfrm>
            <a:prstGeom prst="diamond">
              <a:avLst/>
            </a:prstGeom>
            <a:solidFill>
              <a:srgbClr val="C9C9C9"/>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9" name="Straight Connector 688">
              <a:extLst>
                <a:ext uri="{FF2B5EF4-FFF2-40B4-BE49-F238E27FC236}">
                  <a16:creationId xmlns:a16="http://schemas.microsoft.com/office/drawing/2014/main" id="{8E978AA2-5344-40E5-990A-24310D3C1661}"/>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0" name="Rectangle 689">
            <a:extLst>
              <a:ext uri="{FF2B5EF4-FFF2-40B4-BE49-F238E27FC236}">
                <a16:creationId xmlns:a16="http://schemas.microsoft.com/office/drawing/2014/main" id="{173B50A6-B992-4DAE-99EA-8E6F11B148D1}"/>
              </a:ext>
            </a:extLst>
          </p:cNvPr>
          <p:cNvSpPr/>
          <p:nvPr/>
        </p:nvSpPr>
        <p:spPr>
          <a:xfrm>
            <a:off x="1364890" y="3765162"/>
            <a:ext cx="1472271"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Partner support</a:t>
            </a:r>
          </a:p>
        </p:txBody>
      </p:sp>
      <p:sp>
        <p:nvSpPr>
          <p:cNvPr id="691" name="Rectangle 690">
            <a:extLst>
              <a:ext uri="{FF2B5EF4-FFF2-40B4-BE49-F238E27FC236}">
                <a16:creationId xmlns:a16="http://schemas.microsoft.com/office/drawing/2014/main" id="{53DB4ABD-1BFE-443F-8C8B-247B3D5C1205}"/>
              </a:ext>
            </a:extLst>
          </p:cNvPr>
          <p:cNvSpPr/>
          <p:nvPr/>
        </p:nvSpPr>
        <p:spPr>
          <a:xfrm>
            <a:off x="1591627" y="10888941"/>
            <a:ext cx="2485056"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Discovery and assessment</a:t>
            </a:r>
          </a:p>
        </p:txBody>
      </p:sp>
      <p:sp>
        <p:nvSpPr>
          <p:cNvPr id="695" name="Rectangle 694">
            <a:extLst>
              <a:ext uri="{FF2B5EF4-FFF2-40B4-BE49-F238E27FC236}">
                <a16:creationId xmlns:a16="http://schemas.microsoft.com/office/drawing/2014/main" id="{187A1756-A6CE-4D55-B8D9-ED299D986FBD}"/>
              </a:ext>
            </a:extLst>
          </p:cNvPr>
          <p:cNvSpPr/>
          <p:nvPr/>
        </p:nvSpPr>
        <p:spPr>
          <a:xfrm>
            <a:off x="4645320" y="3879313"/>
            <a:ext cx="1835913"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CO/ business case</a:t>
            </a:r>
          </a:p>
        </p:txBody>
      </p:sp>
      <p:sp>
        <p:nvSpPr>
          <p:cNvPr id="704" name="Rectangle 703">
            <a:extLst>
              <a:ext uri="{FF2B5EF4-FFF2-40B4-BE49-F238E27FC236}">
                <a16:creationId xmlns:a16="http://schemas.microsoft.com/office/drawing/2014/main" id="{AFD143F8-8A0E-475E-ABC7-D19C1B4D724E}"/>
              </a:ext>
            </a:extLst>
          </p:cNvPr>
          <p:cNvSpPr/>
          <p:nvPr/>
        </p:nvSpPr>
        <p:spPr>
          <a:xfrm>
            <a:off x="7523074" y="3876491"/>
            <a:ext cx="168493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echnical skilling</a:t>
            </a:r>
          </a:p>
        </p:txBody>
      </p:sp>
      <p:sp>
        <p:nvSpPr>
          <p:cNvPr id="716" name="Rectangle 715">
            <a:extLst>
              <a:ext uri="{FF2B5EF4-FFF2-40B4-BE49-F238E27FC236}">
                <a16:creationId xmlns:a16="http://schemas.microsoft.com/office/drawing/2014/main" id="{98CF7545-E5DC-41FE-97E4-DBB3705C5C78}"/>
              </a:ext>
            </a:extLst>
          </p:cNvPr>
          <p:cNvSpPr/>
          <p:nvPr/>
        </p:nvSpPr>
        <p:spPr>
          <a:xfrm>
            <a:off x="3428132" y="1825338"/>
            <a:ext cx="3240884"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gration assessment and execution</a:t>
            </a:r>
          </a:p>
        </p:txBody>
      </p:sp>
      <p:sp>
        <p:nvSpPr>
          <p:cNvPr id="722" name="Rectangle 721">
            <a:extLst>
              <a:ext uri="{FF2B5EF4-FFF2-40B4-BE49-F238E27FC236}">
                <a16:creationId xmlns:a16="http://schemas.microsoft.com/office/drawing/2014/main" id="{EB4C245D-82D9-4CC0-B1EE-57BA543B870B}"/>
              </a:ext>
            </a:extLst>
          </p:cNvPr>
          <p:cNvSpPr/>
          <p:nvPr/>
        </p:nvSpPr>
        <p:spPr>
          <a:xfrm>
            <a:off x="8042029" y="1825338"/>
            <a:ext cx="2598165"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Security and compliance</a:t>
            </a:r>
          </a:p>
        </p:txBody>
      </p:sp>
      <p:sp>
        <p:nvSpPr>
          <p:cNvPr id="729" name="Rectangle 728">
            <a:extLst>
              <a:ext uri="{FF2B5EF4-FFF2-40B4-BE49-F238E27FC236}">
                <a16:creationId xmlns:a16="http://schemas.microsoft.com/office/drawing/2014/main" id="{1929A828-F719-4A30-89D9-5C4D0D6DDD70}"/>
              </a:ext>
            </a:extLst>
          </p:cNvPr>
          <p:cNvSpPr/>
          <p:nvPr/>
        </p:nvSpPr>
        <p:spPr>
          <a:xfrm>
            <a:off x="10599146" y="1714009"/>
            <a:ext cx="1592854"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Cloud operations</a:t>
            </a:r>
          </a:p>
        </p:txBody>
      </p:sp>
      <p:grpSp>
        <p:nvGrpSpPr>
          <p:cNvPr id="730" name="Group 729">
            <a:extLst>
              <a:ext uri="{FF2B5EF4-FFF2-40B4-BE49-F238E27FC236}">
                <a16:creationId xmlns:a16="http://schemas.microsoft.com/office/drawing/2014/main" id="{2A55A2EE-CBA0-4FD0-933D-2661BDF81AE3}"/>
              </a:ext>
              <a:ext uri="{C183D7F6-B498-43B3-948B-1728B52AA6E4}">
                <adec:decorative xmlns:adec="http://schemas.microsoft.com/office/drawing/2017/decorative" val="1"/>
              </a:ext>
            </a:extLst>
          </p:cNvPr>
          <p:cNvGrpSpPr/>
          <p:nvPr/>
        </p:nvGrpSpPr>
        <p:grpSpPr>
          <a:xfrm>
            <a:off x="10857729" y="2161880"/>
            <a:ext cx="197618" cy="462013"/>
            <a:chOff x="559625" y="2533133"/>
            <a:chExt cx="197618" cy="462013"/>
          </a:xfrm>
          <a:solidFill>
            <a:schemeClr val="accent3">
              <a:lumMod val="50000"/>
            </a:schemeClr>
          </a:solidFill>
        </p:grpSpPr>
        <p:sp>
          <p:nvSpPr>
            <p:cNvPr id="731" name="Diamond 730">
              <a:extLst>
                <a:ext uri="{FF2B5EF4-FFF2-40B4-BE49-F238E27FC236}">
                  <a16:creationId xmlns:a16="http://schemas.microsoft.com/office/drawing/2014/main" id="{C6603EBA-3973-49BB-87E1-FF19BADB4128}"/>
                </a:ext>
              </a:extLst>
            </p:cNvPr>
            <p:cNvSpPr/>
            <p:nvPr/>
          </p:nvSpPr>
          <p:spPr>
            <a:xfrm>
              <a:off x="559625" y="2533133"/>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32" name="Straight Connector 731">
              <a:extLst>
                <a:ext uri="{FF2B5EF4-FFF2-40B4-BE49-F238E27FC236}">
                  <a16:creationId xmlns:a16="http://schemas.microsoft.com/office/drawing/2014/main" id="{81B7819E-C168-49FF-BBA2-0DF82FDDC098}"/>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33" name="Rectangle 732">
            <a:extLst>
              <a:ext uri="{FF2B5EF4-FFF2-40B4-BE49-F238E27FC236}">
                <a16:creationId xmlns:a16="http://schemas.microsoft.com/office/drawing/2014/main" id="{6E7A410C-861F-4087-8B97-58822C15268A}"/>
              </a:ext>
            </a:extLst>
          </p:cNvPr>
          <p:cNvSpPr/>
          <p:nvPr/>
        </p:nvSpPr>
        <p:spPr>
          <a:xfrm>
            <a:off x="9603727" y="3865841"/>
            <a:ext cx="1907788" cy="329076"/>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Landing zone design</a:t>
            </a:r>
          </a:p>
        </p:txBody>
      </p:sp>
      <p:sp>
        <p:nvSpPr>
          <p:cNvPr id="254" name="Rectangle 253">
            <a:extLst>
              <a:ext uri="{FF2B5EF4-FFF2-40B4-BE49-F238E27FC236}">
                <a16:creationId xmlns:a16="http://schemas.microsoft.com/office/drawing/2014/main" id="{DA737712-9C16-4956-AC47-9A2A2D0FAD31}"/>
              </a:ext>
            </a:extLst>
          </p:cNvPr>
          <p:cNvSpPr/>
          <p:nvPr/>
        </p:nvSpPr>
        <p:spPr>
          <a:xfrm rot="10800000" flipV="1">
            <a:off x="4077827" y="2625086"/>
            <a:ext cx="777240" cy="7772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kumimoji="0" lang="en-US" sz="900" b="0" i="0" u="none" strike="noStrike" kern="1200" cap="none" spc="0" normalizeH="0" baseline="0" noProof="0">
                <a:ln>
                  <a:noFill/>
                </a:ln>
                <a:solidFill>
                  <a:prstClr val="black"/>
                </a:solidFill>
                <a:effectLst/>
                <a:uLnTx/>
                <a:uFillTx/>
                <a:latin typeface="Segoe UI"/>
                <a:ea typeface="+mn-ea"/>
                <a:cs typeface="+mn-cs"/>
              </a:rPr>
              <a:t>Workload alignment</a:t>
            </a:r>
          </a:p>
        </p:txBody>
      </p:sp>
      <p:sp>
        <p:nvSpPr>
          <p:cNvPr id="255" name="Rectangle 254">
            <a:extLst>
              <a:ext uri="{FF2B5EF4-FFF2-40B4-BE49-F238E27FC236}">
                <a16:creationId xmlns:a16="http://schemas.microsoft.com/office/drawing/2014/main" id="{D9E11929-F9F4-43FD-A38D-883013AB6343}"/>
              </a:ext>
            </a:extLst>
          </p:cNvPr>
          <p:cNvSpPr/>
          <p:nvPr/>
        </p:nvSpPr>
        <p:spPr>
          <a:xfrm rot="10800000" flipH="1" flipV="1">
            <a:off x="10582491" y="2625087"/>
            <a:ext cx="777240" cy="77724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900">
                <a:solidFill>
                  <a:prstClr val="white"/>
                </a:solidFill>
                <a:latin typeface="Segoe UI"/>
              </a:rPr>
              <a:t>DevOps operation &amp; automation</a:t>
            </a:r>
            <a:endParaRPr kumimoji="0" lang="en-US" sz="900" b="0" i="0" u="none" strike="noStrike" kern="1200" cap="none" spc="0" normalizeH="0" baseline="0" noProof="0">
              <a:ln>
                <a:noFill/>
              </a:ln>
              <a:solidFill>
                <a:prstClr val="white"/>
              </a:solidFill>
              <a:effectLst/>
              <a:uLnTx/>
              <a:uFillTx/>
              <a:latin typeface="Segoe UI"/>
              <a:ea typeface="+mn-ea"/>
              <a:cs typeface="+mn-cs"/>
            </a:endParaRPr>
          </a:p>
        </p:txBody>
      </p:sp>
      <p:sp>
        <p:nvSpPr>
          <p:cNvPr id="265" name="Rectangle 264">
            <a:extLst>
              <a:ext uri="{FF2B5EF4-FFF2-40B4-BE49-F238E27FC236}">
                <a16:creationId xmlns:a16="http://schemas.microsoft.com/office/drawing/2014/main" id="{6A8A53DA-00FE-4A47-8D44-F714797A54DA}"/>
              </a:ext>
            </a:extLst>
          </p:cNvPr>
          <p:cNvSpPr/>
          <p:nvPr/>
        </p:nvSpPr>
        <p:spPr>
          <a:xfrm>
            <a:off x="5703993" y="2625086"/>
            <a:ext cx="777240" cy="777240"/>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Financial analysis</a:t>
            </a:r>
          </a:p>
        </p:txBody>
      </p:sp>
      <p:sp>
        <p:nvSpPr>
          <p:cNvPr id="267" name="Rectangle 266">
            <a:extLst>
              <a:ext uri="{FF2B5EF4-FFF2-40B4-BE49-F238E27FC236}">
                <a16:creationId xmlns:a16="http://schemas.microsoft.com/office/drawing/2014/main" id="{E0039288-B235-4294-AE95-67CF93FA1816}"/>
              </a:ext>
            </a:extLst>
          </p:cNvPr>
          <p:cNvSpPr/>
          <p:nvPr/>
        </p:nvSpPr>
        <p:spPr>
          <a:xfrm>
            <a:off x="4890910" y="2625086"/>
            <a:ext cx="777240" cy="777240"/>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strategy</a:t>
            </a:r>
          </a:p>
        </p:txBody>
      </p:sp>
      <p:sp>
        <p:nvSpPr>
          <p:cNvPr id="5" name="Freeform: Shape 4">
            <a:extLst>
              <a:ext uri="{FF2B5EF4-FFF2-40B4-BE49-F238E27FC236}">
                <a16:creationId xmlns:a16="http://schemas.microsoft.com/office/drawing/2014/main" id="{58BEE02F-02AE-4FA7-A7FC-2A3489AEFABF}"/>
              </a:ext>
            </a:extLst>
          </p:cNvPr>
          <p:cNvSpPr/>
          <p:nvPr/>
        </p:nvSpPr>
        <p:spPr>
          <a:xfrm>
            <a:off x="11395573" y="2625086"/>
            <a:ext cx="777240" cy="777240"/>
          </a:xfrm>
          <a:custGeom>
            <a:avLst/>
            <a:gdLst>
              <a:gd name="connsiteX0" fmla="*/ 779320 w 779320"/>
              <a:gd name="connsiteY0" fmla="*/ 368808 h 368808"/>
              <a:gd name="connsiteX1" fmla="*/ 0 w 779320"/>
              <a:gd name="connsiteY1" fmla="*/ 368808 h 368808"/>
              <a:gd name="connsiteX2" fmla="*/ 0 w 779320"/>
              <a:gd name="connsiteY2" fmla="*/ 0 h 368808"/>
              <a:gd name="connsiteX3" fmla="*/ 779320 w 779320"/>
              <a:gd name="connsiteY3" fmla="*/ 0 h 368808"/>
              <a:gd name="connsiteX4" fmla="*/ 779320 w 779320"/>
              <a:gd name="connsiteY4" fmla="*/ 368808 h 368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68808">
                <a:moveTo>
                  <a:pt x="779320" y="368808"/>
                </a:moveTo>
                <a:lnTo>
                  <a:pt x="0" y="368808"/>
                </a:lnTo>
                <a:lnTo>
                  <a:pt x="0" y="0"/>
                </a:lnTo>
                <a:lnTo>
                  <a:pt x="779320" y="0"/>
                </a:lnTo>
                <a:lnTo>
                  <a:pt x="779320" y="36880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900">
                <a:solidFill>
                  <a:prstClr val="white"/>
                </a:solidFill>
                <a:latin typeface="Segoe UI"/>
              </a:rPr>
              <a:t>Identify Next Projects</a:t>
            </a:r>
            <a:endParaRPr kumimoji="0" lang="en-US" sz="900" b="0" i="0" u="none" strike="noStrike" kern="1200" cap="none" spc="0" normalizeH="0" baseline="0" noProof="0">
              <a:ln>
                <a:noFill/>
              </a:ln>
              <a:solidFill>
                <a:prstClr val="white"/>
              </a:solidFill>
              <a:effectLst/>
              <a:uLnTx/>
              <a:uFillTx/>
              <a:latin typeface="Segoe UI"/>
              <a:ea typeface="+mn-ea"/>
              <a:cs typeface="+mn-cs"/>
            </a:endParaRPr>
          </a:p>
        </p:txBody>
      </p:sp>
      <p:grpSp>
        <p:nvGrpSpPr>
          <p:cNvPr id="186" name="Group 185">
            <a:extLst>
              <a:ext uri="{FF2B5EF4-FFF2-40B4-BE49-F238E27FC236}">
                <a16:creationId xmlns:a16="http://schemas.microsoft.com/office/drawing/2014/main" id="{EBB5AA03-5C81-450F-95B6-5A376E9FDD27}"/>
              </a:ext>
              <a:ext uri="{C183D7F6-B498-43B3-948B-1728B52AA6E4}">
                <adec:decorative xmlns:adec="http://schemas.microsoft.com/office/drawing/2017/decorative" val="1"/>
              </a:ext>
            </a:extLst>
          </p:cNvPr>
          <p:cNvGrpSpPr/>
          <p:nvPr/>
        </p:nvGrpSpPr>
        <p:grpSpPr>
          <a:xfrm>
            <a:off x="9005549" y="2161880"/>
            <a:ext cx="197618" cy="462013"/>
            <a:chOff x="559625" y="2533133"/>
            <a:chExt cx="197618" cy="462013"/>
          </a:xfrm>
          <a:solidFill>
            <a:schemeClr val="accent3">
              <a:lumMod val="50000"/>
            </a:schemeClr>
          </a:solidFill>
        </p:grpSpPr>
        <p:sp>
          <p:nvSpPr>
            <p:cNvPr id="187" name="Diamond 186">
              <a:extLst>
                <a:ext uri="{FF2B5EF4-FFF2-40B4-BE49-F238E27FC236}">
                  <a16:creationId xmlns:a16="http://schemas.microsoft.com/office/drawing/2014/main" id="{06997737-5525-48F7-964C-9BAB608E28F3}"/>
                </a:ext>
              </a:extLst>
            </p:cNvPr>
            <p:cNvSpPr/>
            <p:nvPr/>
          </p:nvSpPr>
          <p:spPr>
            <a:xfrm>
              <a:off x="559625" y="2533133"/>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188" name="Straight Connector 187">
              <a:extLst>
                <a:ext uri="{FF2B5EF4-FFF2-40B4-BE49-F238E27FC236}">
                  <a16:creationId xmlns:a16="http://schemas.microsoft.com/office/drawing/2014/main" id="{82875101-CB8A-4FC3-9ED7-0932001757FE}"/>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descr="Free tools: Azure Migrate">
            <a:extLst>
              <a:ext uri="{FF2B5EF4-FFF2-40B4-BE49-F238E27FC236}">
                <a16:creationId xmlns:a16="http://schemas.microsoft.com/office/drawing/2014/main" id="{55DCFF95-1581-4BE0-A784-10E331FD8889}"/>
              </a:ext>
            </a:extLst>
          </p:cNvPr>
          <p:cNvGrpSpPr/>
          <p:nvPr/>
        </p:nvGrpSpPr>
        <p:grpSpPr>
          <a:xfrm>
            <a:off x="4131652" y="4514936"/>
            <a:ext cx="3621450" cy="885316"/>
            <a:chOff x="6974690" y="4518531"/>
            <a:chExt cx="3621450" cy="885316"/>
          </a:xfrm>
        </p:grpSpPr>
        <p:sp>
          <p:nvSpPr>
            <p:cNvPr id="139" name="Rectangle 138">
              <a:extLst>
                <a:ext uri="{FF2B5EF4-FFF2-40B4-BE49-F238E27FC236}">
                  <a16:creationId xmlns:a16="http://schemas.microsoft.com/office/drawing/2014/main" id="{B8DEB41A-4B37-4747-BEA7-B18E024C3760}"/>
                </a:ext>
              </a:extLst>
            </p:cNvPr>
            <p:cNvSpPr/>
            <p:nvPr/>
          </p:nvSpPr>
          <p:spPr bwMode="auto">
            <a:xfrm>
              <a:off x="6974690" y="4518531"/>
              <a:ext cx="3621450" cy="885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ree tools: Azure Migrate</a:t>
              </a:r>
            </a:p>
          </p:txBody>
        </p:sp>
        <p:grpSp>
          <p:nvGrpSpPr>
            <p:cNvPr id="140" name="dev testing" descr="dev testing">
              <a:extLst>
                <a:ext uri="{FF2B5EF4-FFF2-40B4-BE49-F238E27FC236}">
                  <a16:creationId xmlns:a16="http://schemas.microsoft.com/office/drawing/2014/main" id="{3109B970-D465-4772-8A08-A83C0176414C}"/>
                </a:ext>
              </a:extLst>
            </p:cNvPr>
            <p:cNvGrpSpPr>
              <a:grpSpLocks noChangeAspect="1"/>
            </p:cNvGrpSpPr>
            <p:nvPr/>
          </p:nvGrpSpPr>
          <p:grpSpPr bwMode="auto">
            <a:xfrm>
              <a:off x="6980896" y="4778749"/>
              <a:ext cx="435012" cy="364887"/>
              <a:chOff x="448" y="808"/>
              <a:chExt cx="262" cy="235"/>
            </a:xfrm>
          </p:grpSpPr>
          <p:sp>
            <p:nvSpPr>
              <p:cNvPr id="150" name="AutoShape 3">
                <a:extLst>
                  <a:ext uri="{FF2B5EF4-FFF2-40B4-BE49-F238E27FC236}">
                    <a16:creationId xmlns:a16="http://schemas.microsoft.com/office/drawing/2014/main" id="{79512CA7-8C2E-49BE-8583-41C1CBC84AB7}"/>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Rectangle 5">
                <a:extLst>
                  <a:ext uri="{FF2B5EF4-FFF2-40B4-BE49-F238E27FC236}">
                    <a16:creationId xmlns:a16="http://schemas.microsoft.com/office/drawing/2014/main" id="{76CE135F-86B6-4160-9B10-C4CFFEDD9701}"/>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Rectangle 6">
                <a:extLst>
                  <a:ext uri="{FF2B5EF4-FFF2-40B4-BE49-F238E27FC236}">
                    <a16:creationId xmlns:a16="http://schemas.microsoft.com/office/drawing/2014/main" id="{D8EE9B06-B392-469B-B267-3F23E1A226C4}"/>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Rectangle 7">
                <a:extLst>
                  <a:ext uri="{FF2B5EF4-FFF2-40B4-BE49-F238E27FC236}">
                    <a16:creationId xmlns:a16="http://schemas.microsoft.com/office/drawing/2014/main" id="{B887928F-9E53-4C88-B084-D7BC90E460AE}"/>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Rectangle 8">
                <a:extLst>
                  <a:ext uri="{FF2B5EF4-FFF2-40B4-BE49-F238E27FC236}">
                    <a16:creationId xmlns:a16="http://schemas.microsoft.com/office/drawing/2014/main" id="{36558215-6EB7-445E-90FA-797E22A77DCD}"/>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Rectangle 9">
                <a:extLst>
                  <a:ext uri="{FF2B5EF4-FFF2-40B4-BE49-F238E27FC236}">
                    <a16:creationId xmlns:a16="http://schemas.microsoft.com/office/drawing/2014/main" id="{D02FBF3C-DCE0-44F8-958B-4F6146C31BF0}"/>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Rectangle 10">
                <a:extLst>
                  <a:ext uri="{FF2B5EF4-FFF2-40B4-BE49-F238E27FC236}">
                    <a16:creationId xmlns:a16="http://schemas.microsoft.com/office/drawing/2014/main" id="{23AD3EF4-F053-4E34-91F1-2C4213351CEC}"/>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Rectangle 11">
                <a:extLst>
                  <a:ext uri="{FF2B5EF4-FFF2-40B4-BE49-F238E27FC236}">
                    <a16:creationId xmlns:a16="http://schemas.microsoft.com/office/drawing/2014/main" id="{9E44F672-BC6F-4C07-87C9-3068EEEF1D0F}"/>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Rectangle 12">
                <a:extLst>
                  <a:ext uri="{FF2B5EF4-FFF2-40B4-BE49-F238E27FC236}">
                    <a16:creationId xmlns:a16="http://schemas.microsoft.com/office/drawing/2014/main" id="{B50C1913-7649-4291-B3D2-8C23D190AEF5}"/>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Rectangle 13">
                <a:extLst>
                  <a:ext uri="{FF2B5EF4-FFF2-40B4-BE49-F238E27FC236}">
                    <a16:creationId xmlns:a16="http://schemas.microsoft.com/office/drawing/2014/main" id="{B5BCEE07-3F62-4D8A-8C1D-00C5B3A13EA5}"/>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14">
                <a:extLst>
                  <a:ext uri="{FF2B5EF4-FFF2-40B4-BE49-F238E27FC236}">
                    <a16:creationId xmlns:a16="http://schemas.microsoft.com/office/drawing/2014/main" id="{18D4AB18-BAAD-4FE3-9C52-FA7EE6C83127}"/>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15">
                <a:extLst>
                  <a:ext uri="{FF2B5EF4-FFF2-40B4-BE49-F238E27FC236}">
                    <a16:creationId xmlns:a16="http://schemas.microsoft.com/office/drawing/2014/main" id="{F0C489E3-0AFA-4D50-9FF7-7427201D8A0F}"/>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16">
                <a:extLst>
                  <a:ext uri="{FF2B5EF4-FFF2-40B4-BE49-F238E27FC236}">
                    <a16:creationId xmlns:a16="http://schemas.microsoft.com/office/drawing/2014/main" id="{50DA0FF5-2AB1-43D9-8713-2251AD9861F1}"/>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 name="Group 1" descr="Cost-effective offers and incentives">
            <a:extLst>
              <a:ext uri="{FF2B5EF4-FFF2-40B4-BE49-F238E27FC236}">
                <a16:creationId xmlns:a16="http://schemas.microsoft.com/office/drawing/2014/main" id="{9838AAAF-7110-4146-B99E-5B207CAC308D}"/>
              </a:ext>
            </a:extLst>
          </p:cNvPr>
          <p:cNvGrpSpPr/>
          <p:nvPr/>
        </p:nvGrpSpPr>
        <p:grpSpPr>
          <a:xfrm>
            <a:off x="532126" y="4514936"/>
            <a:ext cx="3169816" cy="885316"/>
            <a:chOff x="2715436" y="5690812"/>
            <a:chExt cx="3169816" cy="885316"/>
          </a:xfrm>
        </p:grpSpPr>
        <p:sp>
          <p:nvSpPr>
            <p:cNvPr id="164" name="Rectangle 163">
              <a:extLst>
                <a:ext uri="{FF2B5EF4-FFF2-40B4-BE49-F238E27FC236}">
                  <a16:creationId xmlns:a16="http://schemas.microsoft.com/office/drawing/2014/main" id="{BAC02E07-EE40-40E4-832E-CF1EE6AB392F}"/>
                </a:ext>
              </a:extLst>
            </p:cNvPr>
            <p:cNvSpPr/>
            <p:nvPr/>
          </p:nvSpPr>
          <p:spPr bwMode="auto">
            <a:xfrm>
              <a:off x="2715436" y="5690812"/>
              <a:ext cx="3169816" cy="885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Cost-effective offers &amp; incentives</a:t>
              </a:r>
            </a:p>
          </p:txBody>
        </p:sp>
        <p:grpSp>
          <p:nvGrpSpPr>
            <p:cNvPr id="166" name="Group 165">
              <a:extLst>
                <a:ext uri="{FF2B5EF4-FFF2-40B4-BE49-F238E27FC236}">
                  <a16:creationId xmlns:a16="http://schemas.microsoft.com/office/drawing/2014/main" id="{74F28ECC-8B34-4E3B-B390-FC59C9CE2C91}"/>
                </a:ext>
              </a:extLst>
            </p:cNvPr>
            <p:cNvGrpSpPr/>
            <p:nvPr/>
          </p:nvGrpSpPr>
          <p:grpSpPr>
            <a:xfrm>
              <a:off x="2719170" y="5882500"/>
              <a:ext cx="497990" cy="501932"/>
              <a:chOff x="9021415" y="2468324"/>
              <a:chExt cx="836453" cy="831199"/>
            </a:xfrm>
          </p:grpSpPr>
          <p:grpSp>
            <p:nvGrpSpPr>
              <p:cNvPr id="190" name="Group 189">
                <a:extLst>
                  <a:ext uri="{FF2B5EF4-FFF2-40B4-BE49-F238E27FC236}">
                    <a16:creationId xmlns:a16="http://schemas.microsoft.com/office/drawing/2014/main" id="{B38BB8C9-A959-4BE4-9AF7-22C61C2F493D}"/>
                  </a:ext>
                </a:extLst>
              </p:cNvPr>
              <p:cNvGrpSpPr/>
              <p:nvPr/>
            </p:nvGrpSpPr>
            <p:grpSpPr>
              <a:xfrm flipH="1">
                <a:off x="9021415" y="2468324"/>
                <a:ext cx="836453" cy="831199"/>
                <a:chOff x="9021415" y="2468324"/>
                <a:chExt cx="836453" cy="831199"/>
              </a:xfrm>
            </p:grpSpPr>
            <p:sp>
              <p:nvSpPr>
                <p:cNvPr id="192" name="Freeform: Shape 191">
                  <a:extLst>
                    <a:ext uri="{FF2B5EF4-FFF2-40B4-BE49-F238E27FC236}">
                      <a16:creationId xmlns:a16="http://schemas.microsoft.com/office/drawing/2014/main" id="{7A901ADB-8BBD-4502-A8C3-282933E37079}"/>
                    </a:ext>
                  </a:extLst>
                </p:cNvPr>
                <p:cNvSpPr/>
                <p:nvPr/>
              </p:nvSpPr>
              <p:spPr>
                <a:xfrm>
                  <a:off x="9078661" y="2468324"/>
                  <a:ext cx="358729" cy="244986"/>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D4CDBC5E-A5A7-45CF-B50D-AC320EDF07B1}"/>
                    </a:ext>
                  </a:extLst>
                </p:cNvPr>
                <p:cNvSpPr/>
                <p:nvPr/>
              </p:nvSpPr>
              <p:spPr>
                <a:xfrm>
                  <a:off x="9021415" y="2676089"/>
                  <a:ext cx="122493" cy="419974"/>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DD5F1650-4BEA-4ED5-AE40-50FABE3CEAAE}"/>
                    </a:ext>
                  </a:extLst>
                </p:cNvPr>
                <p:cNvSpPr/>
                <p:nvPr/>
              </p:nvSpPr>
              <p:spPr>
                <a:xfrm>
                  <a:off x="9078800" y="3053445"/>
                  <a:ext cx="358729" cy="244986"/>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DEEAB65B-1704-48D5-BDB7-7693BAE6B71B}"/>
                    </a:ext>
                  </a:extLst>
                </p:cNvPr>
                <p:cNvSpPr/>
                <p:nvPr/>
              </p:nvSpPr>
              <p:spPr>
                <a:xfrm>
                  <a:off x="9437894" y="2468324"/>
                  <a:ext cx="419974" cy="831199"/>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91" name="Freeform: Shape 190">
                <a:extLst>
                  <a:ext uri="{FF2B5EF4-FFF2-40B4-BE49-F238E27FC236}">
                    <a16:creationId xmlns:a16="http://schemas.microsoft.com/office/drawing/2014/main" id="{F0D91E9C-6382-4C1B-AF49-813DAA83AEF3}"/>
                  </a:ext>
                </a:extLst>
              </p:cNvPr>
              <p:cNvSpPr/>
              <p:nvPr/>
            </p:nvSpPr>
            <p:spPr>
              <a:xfrm>
                <a:off x="9333054" y="2686035"/>
                <a:ext cx="209986" cy="393726"/>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chemeClr val="accent2"/>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9" name="Group 8" descr="In-depth assistance from FastTrack for Azure engineers">
            <a:extLst>
              <a:ext uri="{FF2B5EF4-FFF2-40B4-BE49-F238E27FC236}">
                <a16:creationId xmlns:a16="http://schemas.microsoft.com/office/drawing/2014/main" id="{810EE33D-BE97-437B-83A0-EF2355FFFE0E}"/>
              </a:ext>
            </a:extLst>
          </p:cNvPr>
          <p:cNvGrpSpPr/>
          <p:nvPr/>
        </p:nvGrpSpPr>
        <p:grpSpPr>
          <a:xfrm>
            <a:off x="4131650" y="5445791"/>
            <a:ext cx="4136186" cy="885316"/>
            <a:chOff x="6940134" y="5393759"/>
            <a:chExt cx="4136186" cy="885316"/>
          </a:xfrm>
        </p:grpSpPr>
        <p:sp>
          <p:nvSpPr>
            <p:cNvPr id="165" name="Rectangle 164">
              <a:extLst>
                <a:ext uri="{FF2B5EF4-FFF2-40B4-BE49-F238E27FC236}">
                  <a16:creationId xmlns:a16="http://schemas.microsoft.com/office/drawing/2014/main" id="{0420CA0E-E4CF-4029-A4EA-E4CE973779E6}"/>
                </a:ext>
              </a:extLst>
            </p:cNvPr>
            <p:cNvSpPr/>
            <p:nvPr/>
          </p:nvSpPr>
          <p:spPr bwMode="auto">
            <a:xfrm>
              <a:off x="6974691" y="5393759"/>
              <a:ext cx="4101629" cy="885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In-depth assistance from FastTrack for Azure engineers</a:t>
              </a:r>
            </a:p>
          </p:txBody>
        </p:sp>
        <p:grpSp>
          <p:nvGrpSpPr>
            <p:cNvPr id="167" name="extend" descr="extend, connect, datacenters">
              <a:extLst>
                <a:ext uri="{FF2B5EF4-FFF2-40B4-BE49-F238E27FC236}">
                  <a16:creationId xmlns:a16="http://schemas.microsoft.com/office/drawing/2014/main" id="{6AADB2E5-6CFE-4B52-A970-BCB55886317E}"/>
                </a:ext>
              </a:extLst>
            </p:cNvPr>
            <p:cNvGrpSpPr>
              <a:grpSpLocks noChangeAspect="1"/>
            </p:cNvGrpSpPr>
            <p:nvPr/>
          </p:nvGrpSpPr>
          <p:grpSpPr bwMode="auto">
            <a:xfrm>
              <a:off x="6940134" y="5594884"/>
              <a:ext cx="516533" cy="483047"/>
              <a:chOff x="1633" y="784"/>
              <a:chExt cx="280" cy="280"/>
            </a:xfrm>
          </p:grpSpPr>
          <p:sp>
            <p:nvSpPr>
              <p:cNvPr id="168" name="Rectangle 18">
                <a:extLst>
                  <a:ext uri="{FF2B5EF4-FFF2-40B4-BE49-F238E27FC236}">
                    <a16:creationId xmlns:a16="http://schemas.microsoft.com/office/drawing/2014/main" id="{2C1749C0-8AE4-4C21-A781-2F1AD840B255}"/>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19">
                <a:extLst>
                  <a:ext uri="{FF2B5EF4-FFF2-40B4-BE49-F238E27FC236}">
                    <a16:creationId xmlns:a16="http://schemas.microsoft.com/office/drawing/2014/main" id="{706C7CEF-FF20-4F31-886D-B68C977E7788}"/>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20">
                <a:extLst>
                  <a:ext uri="{FF2B5EF4-FFF2-40B4-BE49-F238E27FC236}">
                    <a16:creationId xmlns:a16="http://schemas.microsoft.com/office/drawing/2014/main" id="{EE13A820-5D48-49B8-9A65-018343A8EA51}"/>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21">
                <a:extLst>
                  <a:ext uri="{FF2B5EF4-FFF2-40B4-BE49-F238E27FC236}">
                    <a16:creationId xmlns:a16="http://schemas.microsoft.com/office/drawing/2014/main" id="{1BE5E468-A155-4455-8E07-EF3740AE3EC1}"/>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Rectangle 22">
                <a:extLst>
                  <a:ext uri="{FF2B5EF4-FFF2-40B4-BE49-F238E27FC236}">
                    <a16:creationId xmlns:a16="http://schemas.microsoft.com/office/drawing/2014/main" id="{5C35C6A9-20EE-4855-A861-8F38124670AA}"/>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Rectangle 23">
                <a:extLst>
                  <a:ext uri="{FF2B5EF4-FFF2-40B4-BE49-F238E27FC236}">
                    <a16:creationId xmlns:a16="http://schemas.microsoft.com/office/drawing/2014/main" id="{E98BC73F-F722-443D-B982-0FFDA0E9D0E4}"/>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Rectangle 24">
                <a:extLst>
                  <a:ext uri="{FF2B5EF4-FFF2-40B4-BE49-F238E27FC236}">
                    <a16:creationId xmlns:a16="http://schemas.microsoft.com/office/drawing/2014/main" id="{B09AB3C6-BA23-4604-84BC-57A7AB215B3E}"/>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Rectangle 25">
                <a:extLst>
                  <a:ext uri="{FF2B5EF4-FFF2-40B4-BE49-F238E27FC236}">
                    <a16:creationId xmlns:a16="http://schemas.microsoft.com/office/drawing/2014/main" id="{01600782-F352-48B7-84E1-F1083F016F70}"/>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6" name="Rectangle 26">
                <a:extLst>
                  <a:ext uri="{FF2B5EF4-FFF2-40B4-BE49-F238E27FC236}">
                    <a16:creationId xmlns:a16="http://schemas.microsoft.com/office/drawing/2014/main" id="{41B653F6-FC08-447C-B4C6-067436201E50}"/>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Oval 27">
                <a:extLst>
                  <a:ext uri="{FF2B5EF4-FFF2-40B4-BE49-F238E27FC236}">
                    <a16:creationId xmlns:a16="http://schemas.microsoft.com/office/drawing/2014/main" id="{C4F8E6D4-D594-4195-A3B6-141AA152258C}"/>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Rectangle 28">
                <a:extLst>
                  <a:ext uri="{FF2B5EF4-FFF2-40B4-BE49-F238E27FC236}">
                    <a16:creationId xmlns:a16="http://schemas.microsoft.com/office/drawing/2014/main" id="{F1F84844-C6A1-48BF-8CDE-FBB1E5161152}"/>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29">
                <a:extLst>
                  <a:ext uri="{FF2B5EF4-FFF2-40B4-BE49-F238E27FC236}">
                    <a16:creationId xmlns:a16="http://schemas.microsoft.com/office/drawing/2014/main" id="{9FF0369E-90E8-42CA-986A-BE622B5D7356}"/>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Rectangle 30">
                <a:extLst>
                  <a:ext uri="{FF2B5EF4-FFF2-40B4-BE49-F238E27FC236}">
                    <a16:creationId xmlns:a16="http://schemas.microsoft.com/office/drawing/2014/main" id="{7035583C-E173-420F-964C-475CDDDD5399}"/>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31">
                <a:extLst>
                  <a:ext uri="{FF2B5EF4-FFF2-40B4-BE49-F238E27FC236}">
                    <a16:creationId xmlns:a16="http://schemas.microsoft.com/office/drawing/2014/main" id="{1571C8F2-42DE-44A2-9BF0-5F2C6D1E6DC7}"/>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Oval 32">
                <a:extLst>
                  <a:ext uri="{FF2B5EF4-FFF2-40B4-BE49-F238E27FC236}">
                    <a16:creationId xmlns:a16="http://schemas.microsoft.com/office/drawing/2014/main" id="{820DB17B-62F1-49A4-B531-B9BBF0E82778}"/>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Oval 33">
                <a:extLst>
                  <a:ext uri="{FF2B5EF4-FFF2-40B4-BE49-F238E27FC236}">
                    <a16:creationId xmlns:a16="http://schemas.microsoft.com/office/drawing/2014/main" id="{161D1E90-16AE-439B-AEC4-D9AB6CA9C3D1}"/>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34">
                <a:extLst>
                  <a:ext uri="{FF2B5EF4-FFF2-40B4-BE49-F238E27FC236}">
                    <a16:creationId xmlns:a16="http://schemas.microsoft.com/office/drawing/2014/main" id="{04B8A1AC-491F-430B-AD25-A867E57593BD}"/>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35">
                <a:extLst>
                  <a:ext uri="{FF2B5EF4-FFF2-40B4-BE49-F238E27FC236}">
                    <a16:creationId xmlns:a16="http://schemas.microsoft.com/office/drawing/2014/main" id="{C9DD802E-0DB7-4820-B5E7-B651924530DB}"/>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Rectangle 36">
                <a:extLst>
                  <a:ext uri="{FF2B5EF4-FFF2-40B4-BE49-F238E27FC236}">
                    <a16:creationId xmlns:a16="http://schemas.microsoft.com/office/drawing/2014/main" id="{95E7149A-4C05-4577-80C4-EE0274F41668}"/>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4" name="Group 3" descr="Technical skill building">
            <a:extLst>
              <a:ext uri="{FF2B5EF4-FFF2-40B4-BE49-F238E27FC236}">
                <a16:creationId xmlns:a16="http://schemas.microsoft.com/office/drawing/2014/main" id="{B193395A-B1D1-4DE7-846A-F56AF04AA680}"/>
              </a:ext>
            </a:extLst>
          </p:cNvPr>
          <p:cNvGrpSpPr/>
          <p:nvPr/>
        </p:nvGrpSpPr>
        <p:grpSpPr>
          <a:xfrm>
            <a:off x="8547569" y="5445791"/>
            <a:ext cx="3351888" cy="885316"/>
            <a:chOff x="2715436" y="6566040"/>
            <a:chExt cx="3351888" cy="885316"/>
          </a:xfrm>
        </p:grpSpPr>
        <p:sp>
          <p:nvSpPr>
            <p:cNvPr id="197" name="Rectangle 196">
              <a:extLst>
                <a:ext uri="{FF2B5EF4-FFF2-40B4-BE49-F238E27FC236}">
                  <a16:creationId xmlns:a16="http://schemas.microsoft.com/office/drawing/2014/main" id="{34E89973-8D05-46F5-935A-8CEBF4F26220}"/>
                </a:ext>
              </a:extLst>
            </p:cNvPr>
            <p:cNvSpPr/>
            <p:nvPr/>
          </p:nvSpPr>
          <p:spPr bwMode="auto">
            <a:xfrm>
              <a:off x="2715436" y="6566040"/>
              <a:ext cx="3351888" cy="885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Technical skill building  </a:t>
              </a:r>
            </a:p>
          </p:txBody>
        </p:sp>
        <p:grpSp>
          <p:nvGrpSpPr>
            <p:cNvPr id="199" name="evolve" descr="evolve">
              <a:extLst>
                <a:ext uri="{FF2B5EF4-FFF2-40B4-BE49-F238E27FC236}">
                  <a16:creationId xmlns:a16="http://schemas.microsoft.com/office/drawing/2014/main" id="{CF78083B-A53D-4F28-BE36-D749BCAFD429}"/>
                </a:ext>
              </a:extLst>
            </p:cNvPr>
            <p:cNvGrpSpPr/>
            <p:nvPr/>
          </p:nvGrpSpPr>
          <p:grpSpPr>
            <a:xfrm>
              <a:off x="2748958" y="6801967"/>
              <a:ext cx="438433" cy="413464"/>
              <a:chOff x="748620" y="3040242"/>
              <a:chExt cx="415510" cy="419004"/>
            </a:xfrm>
          </p:grpSpPr>
          <p:sp>
            <p:nvSpPr>
              <p:cNvPr id="209" name="Freeform: Shape 208">
                <a:extLst>
                  <a:ext uri="{FF2B5EF4-FFF2-40B4-BE49-F238E27FC236}">
                    <a16:creationId xmlns:a16="http://schemas.microsoft.com/office/drawing/2014/main" id="{16014357-E6E8-4387-A4E6-68F23F2A9D3E}"/>
                  </a:ext>
                </a:extLst>
              </p:cNvPr>
              <p:cNvSpPr/>
              <p:nvPr/>
            </p:nvSpPr>
            <p:spPr>
              <a:xfrm>
                <a:off x="748620" y="3324316"/>
                <a:ext cx="134930" cy="134930"/>
              </a:xfrm>
              <a:custGeom>
                <a:avLst/>
                <a:gdLst>
                  <a:gd name="connsiteX0" fmla="*/ 1481 w 134929"/>
                  <a:gd name="connsiteY0" fmla="*/ 133958 h 134929"/>
                  <a:gd name="connsiteX1" fmla="*/ 133959 w 134929"/>
                  <a:gd name="connsiteY1" fmla="*/ 133958 h 134929"/>
                  <a:gd name="connsiteX2" fmla="*/ 133959 w 134929"/>
                  <a:gd name="connsiteY2" fmla="*/ 1481 h 134929"/>
                  <a:gd name="connsiteX3" fmla="*/ 1481 w 134929"/>
                  <a:gd name="connsiteY3" fmla="*/ 1481 h 134929"/>
                  <a:gd name="connsiteX4" fmla="*/ 1481 w 134929"/>
                  <a:gd name="connsiteY4" fmla="*/ 133958 h 13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29" h="134929">
                    <a:moveTo>
                      <a:pt x="1481" y="133958"/>
                    </a:moveTo>
                    <a:lnTo>
                      <a:pt x="133959" y="133958"/>
                    </a:lnTo>
                    <a:lnTo>
                      <a:pt x="133959" y="1481"/>
                    </a:lnTo>
                    <a:lnTo>
                      <a:pt x="1481" y="1481"/>
                    </a:lnTo>
                    <a:lnTo>
                      <a:pt x="1481" y="133958"/>
                    </a:ln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92E09AB1-E58C-46DF-A47F-D919C43FD71D}"/>
                  </a:ext>
                </a:extLst>
              </p:cNvPr>
              <p:cNvSpPr/>
              <p:nvPr/>
            </p:nvSpPr>
            <p:spPr>
              <a:xfrm>
                <a:off x="899218" y="3182500"/>
                <a:ext cx="134930" cy="134930"/>
              </a:xfrm>
              <a:custGeom>
                <a:avLst/>
                <a:gdLst>
                  <a:gd name="connsiteX0" fmla="*/ 1481 w 134929"/>
                  <a:gd name="connsiteY0" fmla="*/ 32320 h 134929"/>
                  <a:gd name="connsiteX1" fmla="*/ 1481 w 134929"/>
                  <a:gd name="connsiteY1" fmla="*/ 103119 h 134929"/>
                  <a:gd name="connsiteX2" fmla="*/ 32320 w 134929"/>
                  <a:gd name="connsiteY2" fmla="*/ 133958 h 134929"/>
                  <a:gd name="connsiteX3" fmla="*/ 103119 w 134929"/>
                  <a:gd name="connsiteY3" fmla="*/ 133958 h 134929"/>
                  <a:gd name="connsiteX4" fmla="*/ 133958 w 134929"/>
                  <a:gd name="connsiteY4" fmla="*/ 103119 h 134929"/>
                  <a:gd name="connsiteX5" fmla="*/ 133958 w 134929"/>
                  <a:gd name="connsiteY5" fmla="*/ 32320 h 134929"/>
                  <a:gd name="connsiteX6" fmla="*/ 103119 w 134929"/>
                  <a:gd name="connsiteY6" fmla="*/ 1481 h 134929"/>
                  <a:gd name="connsiteX7" fmla="*/ 32754 w 134929"/>
                  <a:gd name="connsiteY7" fmla="*/ 1481 h 134929"/>
                  <a:gd name="connsiteX8" fmla="*/ 1481 w 134929"/>
                  <a:gd name="connsiteY8" fmla="*/ 32320 h 13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29" h="134929">
                    <a:moveTo>
                      <a:pt x="1481" y="32320"/>
                    </a:moveTo>
                    <a:lnTo>
                      <a:pt x="1481" y="103119"/>
                    </a:lnTo>
                    <a:cubicBezTo>
                      <a:pt x="1481" y="120059"/>
                      <a:pt x="15380" y="133958"/>
                      <a:pt x="32320" y="133958"/>
                    </a:cubicBezTo>
                    <a:lnTo>
                      <a:pt x="103119" y="133958"/>
                    </a:lnTo>
                    <a:cubicBezTo>
                      <a:pt x="120059" y="133958"/>
                      <a:pt x="133958" y="120059"/>
                      <a:pt x="133958" y="103119"/>
                    </a:cubicBezTo>
                    <a:lnTo>
                      <a:pt x="133958" y="32320"/>
                    </a:lnTo>
                    <a:cubicBezTo>
                      <a:pt x="133958" y="15380"/>
                      <a:pt x="120059" y="1481"/>
                      <a:pt x="103119" y="1481"/>
                    </a:cubicBezTo>
                    <a:lnTo>
                      <a:pt x="32754" y="1481"/>
                    </a:lnTo>
                    <a:cubicBezTo>
                      <a:pt x="15380" y="1481"/>
                      <a:pt x="1481" y="14945"/>
                      <a:pt x="1481" y="32320"/>
                    </a:cubicBez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E5127E60-F12E-4FE9-947E-BB069E2CAAC2}"/>
                  </a:ext>
                </a:extLst>
              </p:cNvPr>
              <p:cNvSpPr/>
              <p:nvPr/>
            </p:nvSpPr>
            <p:spPr>
              <a:xfrm>
                <a:off x="1033553" y="3040242"/>
                <a:ext cx="130577" cy="130577"/>
              </a:xfrm>
              <a:custGeom>
                <a:avLst/>
                <a:gdLst>
                  <a:gd name="connsiteX0" fmla="*/ 1481 w 130577"/>
                  <a:gd name="connsiteY0" fmla="*/ 66634 h 130577"/>
                  <a:gd name="connsiteX1" fmla="*/ 66634 w 130577"/>
                  <a:gd name="connsiteY1" fmla="*/ 131787 h 130577"/>
                  <a:gd name="connsiteX2" fmla="*/ 67502 w 130577"/>
                  <a:gd name="connsiteY2" fmla="*/ 131787 h 130577"/>
                  <a:gd name="connsiteX3" fmla="*/ 132655 w 130577"/>
                  <a:gd name="connsiteY3" fmla="*/ 66634 h 130577"/>
                  <a:gd name="connsiteX4" fmla="*/ 67502 w 130577"/>
                  <a:gd name="connsiteY4" fmla="*/ 1481 h 130577"/>
                  <a:gd name="connsiteX5" fmla="*/ 66634 w 130577"/>
                  <a:gd name="connsiteY5" fmla="*/ 1481 h 130577"/>
                  <a:gd name="connsiteX6" fmla="*/ 1481 w 130577"/>
                  <a:gd name="connsiteY6" fmla="*/ 66634 h 1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7" h="130577">
                    <a:moveTo>
                      <a:pt x="1481" y="66634"/>
                    </a:moveTo>
                    <a:cubicBezTo>
                      <a:pt x="1481" y="102685"/>
                      <a:pt x="30582" y="131787"/>
                      <a:pt x="66634" y="131787"/>
                    </a:cubicBezTo>
                    <a:lnTo>
                      <a:pt x="67502" y="131787"/>
                    </a:lnTo>
                    <a:cubicBezTo>
                      <a:pt x="103553" y="131787"/>
                      <a:pt x="132655" y="102685"/>
                      <a:pt x="132655" y="66634"/>
                    </a:cubicBezTo>
                    <a:cubicBezTo>
                      <a:pt x="132655" y="30582"/>
                      <a:pt x="103553" y="1481"/>
                      <a:pt x="67502" y="1481"/>
                    </a:cubicBezTo>
                    <a:lnTo>
                      <a:pt x="66634" y="1481"/>
                    </a:lnTo>
                    <a:cubicBezTo>
                      <a:pt x="30582" y="1481"/>
                      <a:pt x="1481" y="30582"/>
                      <a:pt x="1481" y="66634"/>
                    </a:cubicBezTo>
                    <a:close/>
                  </a:path>
                </a:pathLst>
              </a:custGeom>
              <a:solidFill>
                <a:srgbClr val="50E6FF"/>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0" name="Group 9" descr="Expert Help from specialized partners">
            <a:extLst>
              <a:ext uri="{FF2B5EF4-FFF2-40B4-BE49-F238E27FC236}">
                <a16:creationId xmlns:a16="http://schemas.microsoft.com/office/drawing/2014/main" id="{C1FF21FA-1657-4EE9-9DE0-F487548EABA4}"/>
              </a:ext>
            </a:extLst>
          </p:cNvPr>
          <p:cNvGrpSpPr/>
          <p:nvPr/>
        </p:nvGrpSpPr>
        <p:grpSpPr>
          <a:xfrm>
            <a:off x="8547594" y="4514936"/>
            <a:ext cx="3156104" cy="885316"/>
            <a:chOff x="6955760" y="6268987"/>
            <a:chExt cx="3156104" cy="885316"/>
          </a:xfrm>
        </p:grpSpPr>
        <p:sp>
          <p:nvSpPr>
            <p:cNvPr id="198" name="Rectangle 197">
              <a:extLst>
                <a:ext uri="{FF2B5EF4-FFF2-40B4-BE49-F238E27FC236}">
                  <a16:creationId xmlns:a16="http://schemas.microsoft.com/office/drawing/2014/main" id="{7A81AD6C-F1D4-458C-9FBB-48B20724A88F}"/>
                </a:ext>
              </a:extLst>
            </p:cNvPr>
            <p:cNvSpPr/>
            <p:nvPr/>
          </p:nvSpPr>
          <p:spPr bwMode="auto">
            <a:xfrm>
              <a:off x="6974690" y="6268987"/>
              <a:ext cx="3137174" cy="885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Expert help from specialized partners</a:t>
              </a:r>
            </a:p>
          </p:txBody>
        </p:sp>
        <p:grpSp>
          <p:nvGrpSpPr>
            <p:cNvPr id="200" name="Group 199">
              <a:extLst>
                <a:ext uri="{FF2B5EF4-FFF2-40B4-BE49-F238E27FC236}">
                  <a16:creationId xmlns:a16="http://schemas.microsoft.com/office/drawing/2014/main" id="{E64A5424-9604-4B44-9CB2-2F2ABEA02DF9}"/>
                </a:ext>
              </a:extLst>
            </p:cNvPr>
            <p:cNvGrpSpPr/>
            <p:nvPr/>
          </p:nvGrpSpPr>
          <p:grpSpPr>
            <a:xfrm>
              <a:off x="6955760" y="6524754"/>
              <a:ext cx="485311" cy="373769"/>
              <a:chOff x="9129166" y="4231703"/>
              <a:chExt cx="524745" cy="450126"/>
            </a:xfrm>
          </p:grpSpPr>
          <p:grpSp>
            <p:nvGrpSpPr>
              <p:cNvPr id="201" name="management at scale" descr="management at scale">
                <a:extLst>
                  <a:ext uri="{FF2B5EF4-FFF2-40B4-BE49-F238E27FC236}">
                    <a16:creationId xmlns:a16="http://schemas.microsoft.com/office/drawing/2014/main" id="{6AA32773-2CA0-4186-8712-CF1871DBD535}"/>
                  </a:ext>
                </a:extLst>
              </p:cNvPr>
              <p:cNvGrpSpPr>
                <a:grpSpLocks noChangeAspect="1"/>
              </p:cNvGrpSpPr>
              <p:nvPr/>
            </p:nvGrpSpPr>
            <p:grpSpPr bwMode="auto">
              <a:xfrm flipH="1" flipV="1">
                <a:off x="9257032" y="4231703"/>
                <a:ext cx="396879" cy="401632"/>
                <a:chOff x="2844" y="774"/>
                <a:chExt cx="250" cy="253"/>
              </a:xfrm>
            </p:grpSpPr>
            <p:sp>
              <p:nvSpPr>
                <p:cNvPr id="205" name="AutoShape 27">
                  <a:extLst>
                    <a:ext uri="{FF2B5EF4-FFF2-40B4-BE49-F238E27FC236}">
                      <a16:creationId xmlns:a16="http://schemas.microsoft.com/office/drawing/2014/main" id="{0C0C6EA4-86F6-4D3D-9C5B-8B4C32E008C3}"/>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Freeform 29">
                  <a:extLst>
                    <a:ext uri="{FF2B5EF4-FFF2-40B4-BE49-F238E27FC236}">
                      <a16:creationId xmlns:a16="http://schemas.microsoft.com/office/drawing/2014/main" id="{3EECAB2F-F48A-40F8-A77C-9B7350FC1D86}"/>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7" name="Freeform 30">
                  <a:extLst>
                    <a:ext uri="{FF2B5EF4-FFF2-40B4-BE49-F238E27FC236}">
                      <a16:creationId xmlns:a16="http://schemas.microsoft.com/office/drawing/2014/main" id="{43C9C750-7C20-4F51-846A-74FA799FF2C3}"/>
                    </a:ext>
                  </a:extLst>
                </p:cNvPr>
                <p:cNvSpPr>
                  <a:spLocks/>
                </p:cNvSpPr>
                <p:nvPr/>
              </p:nvSpPr>
              <p:spPr bwMode="auto">
                <a:xfrm>
                  <a:off x="2946" y="970"/>
                  <a:ext cx="50"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Freeform 31">
                  <a:extLst>
                    <a:ext uri="{FF2B5EF4-FFF2-40B4-BE49-F238E27FC236}">
                      <a16:creationId xmlns:a16="http://schemas.microsoft.com/office/drawing/2014/main" id="{403143D0-F6E0-4E67-95BC-916D76E4D7FF}"/>
                    </a:ext>
                  </a:extLst>
                </p:cNvPr>
                <p:cNvSpPr>
                  <a:spLocks/>
                </p:cNvSpPr>
                <p:nvPr/>
              </p:nvSpPr>
              <p:spPr bwMode="auto">
                <a:xfrm>
                  <a:off x="2849" y="872"/>
                  <a:ext cx="50"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02" name="person" descr="person">
                <a:extLst>
                  <a:ext uri="{FF2B5EF4-FFF2-40B4-BE49-F238E27FC236}">
                    <a16:creationId xmlns:a16="http://schemas.microsoft.com/office/drawing/2014/main" id="{C4B9AA62-9706-403C-9648-E4C6610FE384}"/>
                  </a:ext>
                </a:extLst>
              </p:cNvPr>
              <p:cNvGrpSpPr/>
              <p:nvPr/>
            </p:nvGrpSpPr>
            <p:grpSpPr>
              <a:xfrm>
                <a:off x="9129166" y="4339601"/>
                <a:ext cx="271707" cy="342228"/>
                <a:chOff x="5522452" y="3368919"/>
                <a:chExt cx="224223" cy="282423"/>
              </a:xfrm>
            </p:grpSpPr>
            <p:sp>
              <p:nvSpPr>
                <p:cNvPr id="203" name="Freeform: Shape 202">
                  <a:extLst>
                    <a:ext uri="{FF2B5EF4-FFF2-40B4-BE49-F238E27FC236}">
                      <a16:creationId xmlns:a16="http://schemas.microsoft.com/office/drawing/2014/main" id="{254098EF-DE94-4693-87BF-201885EC2476}"/>
                    </a:ext>
                  </a:extLst>
                </p:cNvPr>
                <p:cNvSpPr/>
                <p:nvPr/>
              </p:nvSpPr>
              <p:spPr>
                <a:xfrm>
                  <a:off x="5573067" y="3368919"/>
                  <a:ext cx="121859"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660A6C3A-FA3F-4924-BC3B-41C4E9D587D1}"/>
                    </a:ext>
                  </a:extLst>
                </p:cNvPr>
                <p:cNvSpPr/>
                <p:nvPr/>
              </p:nvSpPr>
              <p:spPr>
                <a:xfrm>
                  <a:off x="5522452" y="3519435"/>
                  <a:ext cx="224223"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213" name="Group 212">
            <a:extLst>
              <a:ext uri="{FF2B5EF4-FFF2-40B4-BE49-F238E27FC236}">
                <a16:creationId xmlns:a16="http://schemas.microsoft.com/office/drawing/2014/main" id="{44954073-A4E9-4529-A9E7-FB1C80C0A9F9}"/>
              </a:ext>
              <a:ext uri="{C183D7F6-B498-43B3-948B-1728B52AA6E4}">
                <adec:decorative xmlns:adec="http://schemas.microsoft.com/office/drawing/2017/decorative" val="1"/>
              </a:ext>
            </a:extLst>
          </p:cNvPr>
          <p:cNvGrpSpPr/>
          <p:nvPr/>
        </p:nvGrpSpPr>
        <p:grpSpPr>
          <a:xfrm>
            <a:off x="532126" y="5445791"/>
            <a:ext cx="3319793" cy="885316"/>
            <a:chOff x="2453763" y="2497595"/>
            <a:chExt cx="3246765" cy="885441"/>
          </a:xfrm>
        </p:grpSpPr>
        <p:sp>
          <p:nvSpPr>
            <p:cNvPr id="214" name="Rectangle 213">
              <a:extLst>
                <a:ext uri="{FF2B5EF4-FFF2-40B4-BE49-F238E27FC236}">
                  <a16:creationId xmlns:a16="http://schemas.microsoft.com/office/drawing/2014/main" id="{99148AE4-D01C-4A03-98EB-AF5DDE63002F}"/>
                </a:ext>
              </a:extLst>
            </p:cNvPr>
            <p:cNvSpPr/>
            <p:nvPr/>
          </p:nvSpPr>
          <p:spPr bwMode="auto">
            <a:xfrm>
              <a:off x="2453763" y="2497595"/>
              <a:ext cx="3246765"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Holistic Infrastructure migration </a:t>
              </a:r>
            </a:p>
          </p:txBody>
        </p:sp>
        <p:grpSp>
          <p:nvGrpSpPr>
            <p:cNvPr id="217" name="modular 1" descr="modular">
              <a:extLst>
                <a:ext uri="{FF2B5EF4-FFF2-40B4-BE49-F238E27FC236}">
                  <a16:creationId xmlns:a16="http://schemas.microsoft.com/office/drawing/2014/main" id="{6B1262A8-3B3B-4948-A6B4-56E182FA2E8A}"/>
                </a:ext>
              </a:extLst>
            </p:cNvPr>
            <p:cNvGrpSpPr/>
            <p:nvPr/>
          </p:nvGrpSpPr>
          <p:grpSpPr>
            <a:xfrm>
              <a:off x="2497822" y="2745138"/>
              <a:ext cx="417438" cy="390378"/>
              <a:chOff x="3557434" y="2181241"/>
              <a:chExt cx="406193" cy="406193"/>
            </a:xfrm>
          </p:grpSpPr>
          <p:sp>
            <p:nvSpPr>
              <p:cNvPr id="218" name="Rectangle 458">
                <a:extLst>
                  <a:ext uri="{FF2B5EF4-FFF2-40B4-BE49-F238E27FC236}">
                    <a16:creationId xmlns:a16="http://schemas.microsoft.com/office/drawing/2014/main" id="{23CDF55A-3798-4AF4-AADE-88F929B463D6}"/>
                  </a:ext>
                </a:extLst>
              </p:cNvPr>
              <p:cNvSpPr>
                <a:spLocks noChangeArrowheads="1"/>
              </p:cNvSpPr>
              <p:nvPr/>
            </p:nvSpPr>
            <p:spPr bwMode="auto">
              <a:xfrm>
                <a:off x="3557434" y="2181241"/>
                <a:ext cx="406193"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19" name="Rectangle 459">
                <a:extLst>
                  <a:ext uri="{FF2B5EF4-FFF2-40B4-BE49-F238E27FC236}">
                    <a16:creationId xmlns:a16="http://schemas.microsoft.com/office/drawing/2014/main" id="{9ECF5D3A-9830-426A-B1DE-7A7344BDCF16}"/>
                  </a:ext>
                </a:extLst>
              </p:cNvPr>
              <p:cNvSpPr>
                <a:spLocks noChangeArrowheads="1"/>
              </p:cNvSpPr>
              <p:nvPr/>
            </p:nvSpPr>
            <p:spPr bwMode="auto">
              <a:xfrm>
                <a:off x="3557434" y="2223261"/>
                <a:ext cx="406193" cy="14940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20" name="Rectangle 460">
                <a:extLst>
                  <a:ext uri="{FF2B5EF4-FFF2-40B4-BE49-F238E27FC236}">
                    <a16:creationId xmlns:a16="http://schemas.microsoft.com/office/drawing/2014/main" id="{FBB767F8-9664-4B67-B2B8-273D483BF9FD}"/>
                  </a:ext>
                </a:extLst>
              </p:cNvPr>
              <p:cNvSpPr>
                <a:spLocks noChangeArrowheads="1"/>
              </p:cNvSpPr>
              <p:nvPr/>
            </p:nvSpPr>
            <p:spPr bwMode="auto">
              <a:xfrm>
                <a:off x="3557434" y="2394454"/>
                <a:ext cx="85597"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21" name="Rectangle 461">
                <a:extLst>
                  <a:ext uri="{FF2B5EF4-FFF2-40B4-BE49-F238E27FC236}">
                    <a16:creationId xmlns:a16="http://schemas.microsoft.com/office/drawing/2014/main" id="{00A27DA8-5B2C-4914-9343-A37F37A63AB8}"/>
                  </a:ext>
                </a:extLst>
              </p:cNvPr>
              <p:cNvSpPr>
                <a:spLocks noChangeArrowheads="1"/>
              </p:cNvSpPr>
              <p:nvPr/>
            </p:nvSpPr>
            <p:spPr bwMode="auto">
              <a:xfrm>
                <a:off x="3664818" y="2394454"/>
                <a:ext cx="84040"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22" name="Rectangle 462">
                <a:extLst>
                  <a:ext uri="{FF2B5EF4-FFF2-40B4-BE49-F238E27FC236}">
                    <a16:creationId xmlns:a16="http://schemas.microsoft.com/office/drawing/2014/main" id="{B9E60318-3B0D-4132-9C9A-0EB5BFDD3267}"/>
                  </a:ext>
                </a:extLst>
              </p:cNvPr>
              <p:cNvSpPr>
                <a:spLocks noChangeArrowheads="1"/>
              </p:cNvSpPr>
              <p:nvPr/>
            </p:nvSpPr>
            <p:spPr bwMode="auto">
              <a:xfrm>
                <a:off x="3770646"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23" name="Rectangle 463">
                <a:extLst>
                  <a:ext uri="{FF2B5EF4-FFF2-40B4-BE49-F238E27FC236}">
                    <a16:creationId xmlns:a16="http://schemas.microsoft.com/office/drawing/2014/main" id="{500E6021-E952-4DF0-816D-46CAAEAC33AB}"/>
                  </a:ext>
                </a:extLst>
              </p:cNvPr>
              <p:cNvSpPr>
                <a:spLocks noChangeArrowheads="1"/>
              </p:cNvSpPr>
              <p:nvPr/>
            </p:nvSpPr>
            <p:spPr bwMode="auto">
              <a:xfrm>
                <a:off x="3878030"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24" name="Rectangle 464">
                <a:extLst>
                  <a:ext uri="{FF2B5EF4-FFF2-40B4-BE49-F238E27FC236}">
                    <a16:creationId xmlns:a16="http://schemas.microsoft.com/office/drawing/2014/main" id="{B3CBE48A-358B-4E09-A7CE-9A3F227E5CDA}"/>
                  </a:ext>
                </a:extLst>
              </p:cNvPr>
              <p:cNvSpPr>
                <a:spLocks noChangeArrowheads="1"/>
              </p:cNvSpPr>
              <p:nvPr/>
            </p:nvSpPr>
            <p:spPr bwMode="auto">
              <a:xfrm>
                <a:off x="3557434" y="2501837"/>
                <a:ext cx="191425"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25" name="Rectangle 465">
                <a:extLst>
                  <a:ext uri="{FF2B5EF4-FFF2-40B4-BE49-F238E27FC236}">
                    <a16:creationId xmlns:a16="http://schemas.microsoft.com/office/drawing/2014/main" id="{6DCB8C55-4817-40C8-9992-1D05FE5E871B}"/>
                  </a:ext>
                </a:extLst>
              </p:cNvPr>
              <p:cNvSpPr>
                <a:spLocks noChangeArrowheads="1"/>
              </p:cNvSpPr>
              <p:nvPr/>
            </p:nvSpPr>
            <p:spPr bwMode="auto">
              <a:xfrm>
                <a:off x="3770646" y="2501837"/>
                <a:ext cx="192980"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39" name="Group 238">
            <a:extLst>
              <a:ext uri="{FF2B5EF4-FFF2-40B4-BE49-F238E27FC236}">
                <a16:creationId xmlns:a16="http://schemas.microsoft.com/office/drawing/2014/main" id="{56997A50-9132-46E4-A0D1-38C2830FE352}"/>
              </a:ext>
              <a:ext uri="{C183D7F6-B498-43B3-948B-1728B52AA6E4}">
                <adec:decorative xmlns:adec="http://schemas.microsoft.com/office/drawing/2017/decorative" val="1"/>
              </a:ext>
            </a:extLst>
          </p:cNvPr>
          <p:cNvGrpSpPr/>
          <p:nvPr/>
        </p:nvGrpSpPr>
        <p:grpSpPr>
          <a:xfrm>
            <a:off x="4909087" y="2161880"/>
            <a:ext cx="197618" cy="462013"/>
            <a:chOff x="559625" y="2533133"/>
            <a:chExt cx="197618" cy="462013"/>
          </a:xfrm>
          <a:solidFill>
            <a:schemeClr val="accent3">
              <a:lumMod val="50000"/>
            </a:schemeClr>
          </a:solidFill>
        </p:grpSpPr>
        <p:sp>
          <p:nvSpPr>
            <p:cNvPr id="240" name="Diamond 239">
              <a:extLst>
                <a:ext uri="{FF2B5EF4-FFF2-40B4-BE49-F238E27FC236}">
                  <a16:creationId xmlns:a16="http://schemas.microsoft.com/office/drawing/2014/main" id="{DD27A109-C72F-4306-99D8-096034809417}"/>
                </a:ext>
              </a:extLst>
            </p:cNvPr>
            <p:cNvSpPr/>
            <p:nvPr/>
          </p:nvSpPr>
          <p:spPr>
            <a:xfrm>
              <a:off x="559625" y="2533133"/>
              <a:ext cx="197618" cy="183974"/>
            </a:xfrm>
            <a:prstGeom prst="diamond">
              <a:avLst/>
            </a:prstGeom>
            <a:solidFill>
              <a:srgbClr val="9BFA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41" name="Straight Connector 240">
              <a:extLst>
                <a:ext uri="{FF2B5EF4-FFF2-40B4-BE49-F238E27FC236}">
                  <a16:creationId xmlns:a16="http://schemas.microsoft.com/office/drawing/2014/main" id="{BFE7F793-9FD6-4F35-A8E9-5EB19CD36699}"/>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244" name="Group 243">
            <a:extLst>
              <a:ext uri="{FF2B5EF4-FFF2-40B4-BE49-F238E27FC236}">
                <a16:creationId xmlns:a16="http://schemas.microsoft.com/office/drawing/2014/main" id="{5F1B3CA8-B848-4373-9031-CFC50C6B1338}"/>
              </a:ext>
              <a:ext uri="{C183D7F6-B498-43B3-948B-1728B52AA6E4}">
                <adec:decorative xmlns:adec="http://schemas.microsoft.com/office/drawing/2017/decorative" val="1"/>
              </a:ext>
            </a:extLst>
          </p:cNvPr>
          <p:cNvGrpSpPr/>
          <p:nvPr/>
        </p:nvGrpSpPr>
        <p:grpSpPr>
          <a:xfrm rot="10800000">
            <a:off x="5747820" y="3419053"/>
            <a:ext cx="197618" cy="453304"/>
            <a:chOff x="559625" y="2541842"/>
            <a:chExt cx="197618" cy="453304"/>
          </a:xfrm>
        </p:grpSpPr>
        <p:sp>
          <p:nvSpPr>
            <p:cNvPr id="245" name="Diamond 244">
              <a:extLst>
                <a:ext uri="{FF2B5EF4-FFF2-40B4-BE49-F238E27FC236}">
                  <a16:creationId xmlns:a16="http://schemas.microsoft.com/office/drawing/2014/main" id="{76E6624A-C196-4486-9A17-1785B03F2BD4}"/>
                </a:ext>
              </a:extLst>
            </p:cNvPr>
            <p:cNvSpPr/>
            <p:nvPr/>
          </p:nvSpPr>
          <p:spPr>
            <a:xfrm>
              <a:off x="559625" y="2541842"/>
              <a:ext cx="197618" cy="183974"/>
            </a:xfrm>
            <a:prstGeom prst="diamond">
              <a:avLst/>
            </a:prstGeom>
            <a:solidFill>
              <a:srgbClr val="9BFA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46" name="Straight Connector 245">
              <a:extLst>
                <a:ext uri="{FF2B5EF4-FFF2-40B4-BE49-F238E27FC236}">
                  <a16:creationId xmlns:a16="http://schemas.microsoft.com/office/drawing/2014/main" id="{C8E7D209-3CF1-4BBB-9D22-0C0427A89A7B}"/>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954B625F-A257-456C-88E6-E4015C019A66}"/>
              </a:ext>
              <a:ext uri="{C183D7F6-B498-43B3-948B-1728B52AA6E4}">
                <adec:decorative xmlns:adec="http://schemas.microsoft.com/office/drawing/2017/decorative" val="1"/>
              </a:ext>
            </a:extLst>
          </p:cNvPr>
          <p:cNvGrpSpPr/>
          <p:nvPr/>
        </p:nvGrpSpPr>
        <p:grpSpPr>
          <a:xfrm rot="10800000">
            <a:off x="8143241" y="3419053"/>
            <a:ext cx="197618" cy="453304"/>
            <a:chOff x="559625" y="2541842"/>
            <a:chExt cx="197618" cy="453304"/>
          </a:xfrm>
        </p:grpSpPr>
        <p:sp>
          <p:nvSpPr>
            <p:cNvPr id="248" name="Diamond 247">
              <a:extLst>
                <a:ext uri="{FF2B5EF4-FFF2-40B4-BE49-F238E27FC236}">
                  <a16:creationId xmlns:a16="http://schemas.microsoft.com/office/drawing/2014/main" id="{4683F6DB-E52A-432C-B20C-2828B70419E7}"/>
                </a:ext>
              </a:extLst>
            </p:cNvPr>
            <p:cNvSpPr/>
            <p:nvPr/>
          </p:nvSpPr>
          <p:spPr>
            <a:xfrm>
              <a:off x="559625" y="2541842"/>
              <a:ext cx="197618" cy="183974"/>
            </a:xfrm>
            <a:prstGeom prst="diamond">
              <a:avLst/>
            </a:prstGeom>
            <a:solidFill>
              <a:srgbClr val="00BEDE"/>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49" name="Straight Connector 248">
              <a:extLst>
                <a:ext uri="{FF2B5EF4-FFF2-40B4-BE49-F238E27FC236}">
                  <a16:creationId xmlns:a16="http://schemas.microsoft.com/office/drawing/2014/main" id="{56104C7D-F0AF-4781-A471-7662AAF6EC5C}"/>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291E8287-74D6-4256-9F2A-B922AA77897B}"/>
              </a:ext>
              <a:ext uri="{C183D7F6-B498-43B3-948B-1728B52AA6E4}">
                <adec:decorative xmlns:adec="http://schemas.microsoft.com/office/drawing/2017/decorative" val="1"/>
              </a:ext>
            </a:extLst>
          </p:cNvPr>
          <p:cNvGrpSpPr/>
          <p:nvPr/>
        </p:nvGrpSpPr>
        <p:grpSpPr>
          <a:xfrm rot="10800000">
            <a:off x="10098373" y="3419054"/>
            <a:ext cx="197618" cy="453304"/>
            <a:chOff x="559625" y="2541842"/>
            <a:chExt cx="197618" cy="453304"/>
          </a:xfrm>
        </p:grpSpPr>
        <p:sp>
          <p:nvSpPr>
            <p:cNvPr id="251" name="Diamond 250">
              <a:extLst>
                <a:ext uri="{FF2B5EF4-FFF2-40B4-BE49-F238E27FC236}">
                  <a16:creationId xmlns:a16="http://schemas.microsoft.com/office/drawing/2014/main" id="{F3FAC186-EC8B-46C6-BC59-C2144FF30A8E}"/>
                </a:ext>
              </a:extLst>
            </p:cNvPr>
            <p:cNvSpPr/>
            <p:nvPr/>
          </p:nvSpPr>
          <p:spPr>
            <a:xfrm>
              <a:off x="559625" y="2541842"/>
              <a:ext cx="197618" cy="183974"/>
            </a:xfrm>
            <a:prstGeom prst="diamond">
              <a:avLst/>
            </a:prstGeom>
            <a:solidFill>
              <a:srgbClr val="0090A8"/>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52" name="Straight Connector 251">
              <a:extLst>
                <a:ext uri="{FF2B5EF4-FFF2-40B4-BE49-F238E27FC236}">
                  <a16:creationId xmlns:a16="http://schemas.microsoft.com/office/drawing/2014/main" id="{DB0BC652-8461-4DDB-B79B-B4825C39ADEF}"/>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 name="Rectangle 5">
            <a:extLst>
              <a:ext uri="{FF2B5EF4-FFF2-40B4-BE49-F238E27FC236}">
                <a16:creationId xmlns:a16="http://schemas.microsoft.com/office/drawing/2014/main" id="{850D4114-7AE7-4E9A-AA3C-7107CFA473E0}"/>
              </a:ext>
              <a:ext uri="{C183D7F6-B498-43B3-948B-1728B52AA6E4}">
                <adec:decorative xmlns:adec="http://schemas.microsoft.com/office/drawing/2017/decorative" val="1"/>
              </a:ext>
            </a:extLst>
          </p:cNvPr>
          <p:cNvSpPr/>
          <p:nvPr/>
        </p:nvSpPr>
        <p:spPr bwMode="auto">
          <a:xfrm>
            <a:off x="328578" y="4433129"/>
            <a:ext cx="11653871" cy="2128183"/>
          </a:xfrm>
          <a:prstGeom prst="rect">
            <a:avLst/>
          </a:prstGeom>
          <a:solidFill>
            <a:schemeClr val="bg1">
              <a:lumMod val="50000"/>
            </a:schemeClr>
          </a:solidFill>
          <a:ln>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68501B86-3D3B-425C-A5CA-DD451B0E015B}"/>
              </a:ext>
            </a:extLst>
          </p:cNvPr>
          <p:cNvSpPr txBox="1"/>
          <p:nvPr/>
        </p:nvSpPr>
        <p:spPr>
          <a:xfrm>
            <a:off x="4724434" y="6367959"/>
            <a:ext cx="2736358" cy="369332"/>
          </a:xfrm>
          <a:prstGeom prst="rect">
            <a:avLst/>
          </a:prstGeom>
          <a:solidFill>
            <a:schemeClr val="tx1"/>
          </a:solidFill>
        </p:spPr>
        <p:txBody>
          <a:bodyPr wrap="square" rtlCol="0">
            <a:spAutoFit/>
          </a:bodyPr>
          <a:lstStyle/>
          <a:p>
            <a:r>
              <a:rPr lang="en-US">
                <a:solidFill>
                  <a:schemeClr val="bg1"/>
                </a:solidFill>
              </a:rPr>
              <a:t>Azure Migration Program</a:t>
            </a:r>
          </a:p>
        </p:txBody>
      </p:sp>
      <p:grpSp>
        <p:nvGrpSpPr>
          <p:cNvPr id="196" name="Group 195">
            <a:extLst>
              <a:ext uri="{FF2B5EF4-FFF2-40B4-BE49-F238E27FC236}">
                <a16:creationId xmlns:a16="http://schemas.microsoft.com/office/drawing/2014/main" id="{268DC38D-B442-4B1F-9FA4-D5196EDB89C7}"/>
              </a:ext>
              <a:ext uri="{C183D7F6-B498-43B3-948B-1728B52AA6E4}">
                <adec:decorative xmlns:adec="http://schemas.microsoft.com/office/drawing/2017/decorative" val="1"/>
              </a:ext>
            </a:extLst>
          </p:cNvPr>
          <p:cNvGrpSpPr/>
          <p:nvPr/>
        </p:nvGrpSpPr>
        <p:grpSpPr>
          <a:xfrm>
            <a:off x="4131652" y="4549235"/>
            <a:ext cx="3621450" cy="885316"/>
            <a:chOff x="6974690" y="4518531"/>
            <a:chExt cx="3621450" cy="885316"/>
          </a:xfrm>
        </p:grpSpPr>
        <p:sp>
          <p:nvSpPr>
            <p:cNvPr id="212" name="Rectangle 211">
              <a:extLst>
                <a:ext uri="{FF2B5EF4-FFF2-40B4-BE49-F238E27FC236}">
                  <a16:creationId xmlns:a16="http://schemas.microsoft.com/office/drawing/2014/main" id="{0866E830-BA07-47B3-8784-8B5F9D8AAE4A}"/>
                </a:ext>
              </a:extLst>
            </p:cNvPr>
            <p:cNvSpPr/>
            <p:nvPr/>
          </p:nvSpPr>
          <p:spPr bwMode="auto">
            <a:xfrm>
              <a:off x="6974690" y="4518531"/>
              <a:ext cx="3621450" cy="885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ree tools: Azure Migrate</a:t>
              </a:r>
            </a:p>
          </p:txBody>
        </p:sp>
        <p:grpSp>
          <p:nvGrpSpPr>
            <p:cNvPr id="215" name="dev testing" descr="dev testing">
              <a:extLst>
                <a:ext uri="{FF2B5EF4-FFF2-40B4-BE49-F238E27FC236}">
                  <a16:creationId xmlns:a16="http://schemas.microsoft.com/office/drawing/2014/main" id="{517E3BD9-E4E8-4731-83AE-B358DE635D26}"/>
                </a:ext>
              </a:extLst>
            </p:cNvPr>
            <p:cNvGrpSpPr>
              <a:grpSpLocks noChangeAspect="1"/>
            </p:cNvGrpSpPr>
            <p:nvPr/>
          </p:nvGrpSpPr>
          <p:grpSpPr bwMode="auto">
            <a:xfrm>
              <a:off x="6980896" y="4778749"/>
              <a:ext cx="435012" cy="364887"/>
              <a:chOff x="448" y="808"/>
              <a:chExt cx="262" cy="235"/>
            </a:xfrm>
          </p:grpSpPr>
          <p:sp>
            <p:nvSpPr>
              <p:cNvPr id="216" name="AutoShape 3">
                <a:extLst>
                  <a:ext uri="{FF2B5EF4-FFF2-40B4-BE49-F238E27FC236}">
                    <a16:creationId xmlns:a16="http://schemas.microsoft.com/office/drawing/2014/main" id="{397FD817-80D6-4AE6-9DD2-51E705CD8AE5}"/>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6" name="Rectangle 5">
                <a:extLst>
                  <a:ext uri="{FF2B5EF4-FFF2-40B4-BE49-F238E27FC236}">
                    <a16:creationId xmlns:a16="http://schemas.microsoft.com/office/drawing/2014/main" id="{6360B640-3DA5-41BE-A6CF-B876FCFAF876}"/>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7" name="Rectangle 6">
                <a:extLst>
                  <a:ext uri="{FF2B5EF4-FFF2-40B4-BE49-F238E27FC236}">
                    <a16:creationId xmlns:a16="http://schemas.microsoft.com/office/drawing/2014/main" id="{73239A28-B12B-4546-A62F-FCFB9C9D7CD0}"/>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8" name="Rectangle 7">
                <a:extLst>
                  <a:ext uri="{FF2B5EF4-FFF2-40B4-BE49-F238E27FC236}">
                    <a16:creationId xmlns:a16="http://schemas.microsoft.com/office/drawing/2014/main" id="{915627F7-C678-495A-8339-A66F13383561}"/>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9" name="Rectangle 8">
                <a:extLst>
                  <a:ext uri="{FF2B5EF4-FFF2-40B4-BE49-F238E27FC236}">
                    <a16:creationId xmlns:a16="http://schemas.microsoft.com/office/drawing/2014/main" id="{662A99D9-6858-42DD-84B8-D0E48A2660EF}"/>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30" name="Rectangle 9">
                <a:extLst>
                  <a:ext uri="{FF2B5EF4-FFF2-40B4-BE49-F238E27FC236}">
                    <a16:creationId xmlns:a16="http://schemas.microsoft.com/office/drawing/2014/main" id="{F6B8101B-4728-4A61-81EA-437E97952131}"/>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31" name="Rectangle 10">
                <a:extLst>
                  <a:ext uri="{FF2B5EF4-FFF2-40B4-BE49-F238E27FC236}">
                    <a16:creationId xmlns:a16="http://schemas.microsoft.com/office/drawing/2014/main" id="{4F6D4C9A-70A9-420B-9F71-1DF9262AAE95}"/>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32" name="Rectangle 11">
                <a:extLst>
                  <a:ext uri="{FF2B5EF4-FFF2-40B4-BE49-F238E27FC236}">
                    <a16:creationId xmlns:a16="http://schemas.microsoft.com/office/drawing/2014/main" id="{C4C87340-9175-46C4-8F91-8001B70DBE5A}"/>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33" name="Rectangle 12">
                <a:extLst>
                  <a:ext uri="{FF2B5EF4-FFF2-40B4-BE49-F238E27FC236}">
                    <a16:creationId xmlns:a16="http://schemas.microsoft.com/office/drawing/2014/main" id="{25C97477-60A7-440C-AB77-97B64CCF19E2}"/>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34" name="Rectangle 13">
                <a:extLst>
                  <a:ext uri="{FF2B5EF4-FFF2-40B4-BE49-F238E27FC236}">
                    <a16:creationId xmlns:a16="http://schemas.microsoft.com/office/drawing/2014/main" id="{CDAF4EF7-ED9A-4B77-AA21-ADB8F5DF2482}"/>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35" name="Rectangle 14">
                <a:extLst>
                  <a:ext uri="{FF2B5EF4-FFF2-40B4-BE49-F238E27FC236}">
                    <a16:creationId xmlns:a16="http://schemas.microsoft.com/office/drawing/2014/main" id="{6F375462-C836-4ECF-A574-E336BDC215D0}"/>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36" name="Rectangle 15">
                <a:extLst>
                  <a:ext uri="{FF2B5EF4-FFF2-40B4-BE49-F238E27FC236}">
                    <a16:creationId xmlns:a16="http://schemas.microsoft.com/office/drawing/2014/main" id="{61B36327-51DD-4A7C-94F4-8BBA598F9EAD}"/>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37" name="Rectangle 16">
                <a:extLst>
                  <a:ext uri="{FF2B5EF4-FFF2-40B4-BE49-F238E27FC236}">
                    <a16:creationId xmlns:a16="http://schemas.microsoft.com/office/drawing/2014/main" id="{D8814902-AC96-49B9-8652-27099E34BCCF}"/>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38" name="Group 237">
            <a:extLst>
              <a:ext uri="{FF2B5EF4-FFF2-40B4-BE49-F238E27FC236}">
                <a16:creationId xmlns:a16="http://schemas.microsoft.com/office/drawing/2014/main" id="{E3A9F55A-823C-4DB3-B8C5-A5A456ED5A61}"/>
              </a:ext>
              <a:ext uri="{C183D7F6-B498-43B3-948B-1728B52AA6E4}">
                <adec:decorative xmlns:adec="http://schemas.microsoft.com/office/drawing/2017/decorative" val="1"/>
              </a:ext>
            </a:extLst>
          </p:cNvPr>
          <p:cNvGrpSpPr/>
          <p:nvPr/>
        </p:nvGrpSpPr>
        <p:grpSpPr>
          <a:xfrm>
            <a:off x="532126" y="4549235"/>
            <a:ext cx="3169816" cy="885316"/>
            <a:chOff x="2715436" y="5690812"/>
            <a:chExt cx="3169816" cy="885316"/>
          </a:xfrm>
        </p:grpSpPr>
        <p:sp>
          <p:nvSpPr>
            <p:cNvPr id="242" name="Rectangle 241">
              <a:extLst>
                <a:ext uri="{FF2B5EF4-FFF2-40B4-BE49-F238E27FC236}">
                  <a16:creationId xmlns:a16="http://schemas.microsoft.com/office/drawing/2014/main" id="{5668D24C-98E7-421E-A569-64AFA12D5FBA}"/>
                </a:ext>
              </a:extLst>
            </p:cNvPr>
            <p:cNvSpPr/>
            <p:nvPr/>
          </p:nvSpPr>
          <p:spPr bwMode="auto">
            <a:xfrm>
              <a:off x="2715436" y="5690812"/>
              <a:ext cx="3169816" cy="885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Cost-effective offers &amp; incentives</a:t>
              </a:r>
            </a:p>
          </p:txBody>
        </p:sp>
        <p:grpSp>
          <p:nvGrpSpPr>
            <p:cNvPr id="243" name="Group 242">
              <a:extLst>
                <a:ext uri="{FF2B5EF4-FFF2-40B4-BE49-F238E27FC236}">
                  <a16:creationId xmlns:a16="http://schemas.microsoft.com/office/drawing/2014/main" id="{1394B8CC-933C-40CA-A724-7E0E9F3806B5}"/>
                </a:ext>
              </a:extLst>
            </p:cNvPr>
            <p:cNvGrpSpPr/>
            <p:nvPr/>
          </p:nvGrpSpPr>
          <p:grpSpPr>
            <a:xfrm>
              <a:off x="2719170" y="5882500"/>
              <a:ext cx="497990" cy="501932"/>
              <a:chOff x="9021415" y="2468324"/>
              <a:chExt cx="836453" cy="831199"/>
            </a:xfrm>
          </p:grpSpPr>
          <p:grpSp>
            <p:nvGrpSpPr>
              <p:cNvPr id="253" name="Group 252">
                <a:extLst>
                  <a:ext uri="{FF2B5EF4-FFF2-40B4-BE49-F238E27FC236}">
                    <a16:creationId xmlns:a16="http://schemas.microsoft.com/office/drawing/2014/main" id="{BFDE73BE-505D-4085-B34C-ADEBADC3CA70}"/>
                  </a:ext>
                </a:extLst>
              </p:cNvPr>
              <p:cNvGrpSpPr/>
              <p:nvPr/>
            </p:nvGrpSpPr>
            <p:grpSpPr>
              <a:xfrm flipH="1">
                <a:off x="9021415" y="2468324"/>
                <a:ext cx="836453" cy="831199"/>
                <a:chOff x="9021415" y="2468324"/>
                <a:chExt cx="836453" cy="831199"/>
              </a:xfrm>
            </p:grpSpPr>
            <p:sp>
              <p:nvSpPr>
                <p:cNvPr id="257" name="Freeform: Shape 256">
                  <a:extLst>
                    <a:ext uri="{FF2B5EF4-FFF2-40B4-BE49-F238E27FC236}">
                      <a16:creationId xmlns:a16="http://schemas.microsoft.com/office/drawing/2014/main" id="{9D7BC3B3-0F7F-4A63-81C2-4E2EC3C0935A}"/>
                    </a:ext>
                  </a:extLst>
                </p:cNvPr>
                <p:cNvSpPr/>
                <p:nvPr/>
              </p:nvSpPr>
              <p:spPr>
                <a:xfrm>
                  <a:off x="9078661" y="2468324"/>
                  <a:ext cx="358729" cy="244986"/>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D49FD920-855B-4478-8658-0A8BCA6E19A1}"/>
                    </a:ext>
                  </a:extLst>
                </p:cNvPr>
                <p:cNvSpPr/>
                <p:nvPr/>
              </p:nvSpPr>
              <p:spPr>
                <a:xfrm>
                  <a:off x="9021415" y="2676089"/>
                  <a:ext cx="122493" cy="419974"/>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59" name="Freeform: Shape 258">
                  <a:extLst>
                    <a:ext uri="{FF2B5EF4-FFF2-40B4-BE49-F238E27FC236}">
                      <a16:creationId xmlns:a16="http://schemas.microsoft.com/office/drawing/2014/main" id="{6E4BC3E4-78E5-48DB-94C1-9947AD7CC8AA}"/>
                    </a:ext>
                  </a:extLst>
                </p:cNvPr>
                <p:cNvSpPr/>
                <p:nvPr/>
              </p:nvSpPr>
              <p:spPr>
                <a:xfrm>
                  <a:off x="9078800" y="3053445"/>
                  <a:ext cx="358729" cy="244986"/>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C61E6CC0-6363-44FA-BB1A-5F3027C1DBFB}"/>
                    </a:ext>
                  </a:extLst>
                </p:cNvPr>
                <p:cNvSpPr/>
                <p:nvPr/>
              </p:nvSpPr>
              <p:spPr>
                <a:xfrm>
                  <a:off x="9437894" y="2468324"/>
                  <a:ext cx="419974" cy="831199"/>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56" name="Freeform: Shape 255">
                <a:extLst>
                  <a:ext uri="{FF2B5EF4-FFF2-40B4-BE49-F238E27FC236}">
                    <a16:creationId xmlns:a16="http://schemas.microsoft.com/office/drawing/2014/main" id="{6231F077-BB36-40A3-B506-572FD5F0F111}"/>
                  </a:ext>
                </a:extLst>
              </p:cNvPr>
              <p:cNvSpPr/>
              <p:nvPr/>
            </p:nvSpPr>
            <p:spPr>
              <a:xfrm>
                <a:off x="9333054" y="2686035"/>
                <a:ext cx="209986" cy="393726"/>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chemeClr val="accent2"/>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61" name="Group 260">
            <a:extLst>
              <a:ext uri="{FF2B5EF4-FFF2-40B4-BE49-F238E27FC236}">
                <a16:creationId xmlns:a16="http://schemas.microsoft.com/office/drawing/2014/main" id="{79FA60B5-4CEE-4530-ADC3-FE4C2AB902D7}"/>
              </a:ext>
              <a:ext uri="{C183D7F6-B498-43B3-948B-1728B52AA6E4}">
                <adec:decorative xmlns:adec="http://schemas.microsoft.com/office/drawing/2017/decorative" val="1"/>
              </a:ext>
            </a:extLst>
          </p:cNvPr>
          <p:cNvGrpSpPr/>
          <p:nvPr/>
        </p:nvGrpSpPr>
        <p:grpSpPr>
          <a:xfrm>
            <a:off x="4131650" y="5480090"/>
            <a:ext cx="4136186" cy="885316"/>
            <a:chOff x="6940134" y="5393759"/>
            <a:chExt cx="4136186" cy="885316"/>
          </a:xfrm>
        </p:grpSpPr>
        <p:sp>
          <p:nvSpPr>
            <p:cNvPr id="262" name="Rectangle 261">
              <a:extLst>
                <a:ext uri="{FF2B5EF4-FFF2-40B4-BE49-F238E27FC236}">
                  <a16:creationId xmlns:a16="http://schemas.microsoft.com/office/drawing/2014/main" id="{DDAC6304-7230-4F49-A732-E139A5E75347}"/>
                </a:ext>
              </a:extLst>
            </p:cNvPr>
            <p:cNvSpPr/>
            <p:nvPr/>
          </p:nvSpPr>
          <p:spPr bwMode="auto">
            <a:xfrm>
              <a:off x="6974691" y="5393759"/>
              <a:ext cx="4101629" cy="885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In-depth assistance from FastTrack for Azure engineers</a:t>
              </a:r>
            </a:p>
          </p:txBody>
        </p:sp>
        <p:grpSp>
          <p:nvGrpSpPr>
            <p:cNvPr id="263" name="extend" descr="extend, connect, datacenters">
              <a:extLst>
                <a:ext uri="{FF2B5EF4-FFF2-40B4-BE49-F238E27FC236}">
                  <a16:creationId xmlns:a16="http://schemas.microsoft.com/office/drawing/2014/main" id="{A4B5E350-83D2-418F-BAB7-2D43AF626E19}"/>
                </a:ext>
              </a:extLst>
            </p:cNvPr>
            <p:cNvGrpSpPr>
              <a:grpSpLocks noChangeAspect="1"/>
            </p:cNvGrpSpPr>
            <p:nvPr/>
          </p:nvGrpSpPr>
          <p:grpSpPr bwMode="auto">
            <a:xfrm>
              <a:off x="6940134" y="5594884"/>
              <a:ext cx="516533" cy="483047"/>
              <a:chOff x="1633" y="784"/>
              <a:chExt cx="280" cy="280"/>
            </a:xfrm>
          </p:grpSpPr>
          <p:sp>
            <p:nvSpPr>
              <p:cNvPr id="264" name="Rectangle 18">
                <a:extLst>
                  <a:ext uri="{FF2B5EF4-FFF2-40B4-BE49-F238E27FC236}">
                    <a16:creationId xmlns:a16="http://schemas.microsoft.com/office/drawing/2014/main" id="{49970E5C-6028-4AB2-82F8-7744684759D2}"/>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66" name="Rectangle 19">
                <a:extLst>
                  <a:ext uri="{FF2B5EF4-FFF2-40B4-BE49-F238E27FC236}">
                    <a16:creationId xmlns:a16="http://schemas.microsoft.com/office/drawing/2014/main" id="{1337FA2D-B015-45CA-9903-579E173FC87F}"/>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68" name="Rectangle 20">
                <a:extLst>
                  <a:ext uri="{FF2B5EF4-FFF2-40B4-BE49-F238E27FC236}">
                    <a16:creationId xmlns:a16="http://schemas.microsoft.com/office/drawing/2014/main" id="{B696FEDF-FE77-4C50-86DD-2DB4983895A6}"/>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69" name="Rectangle 21">
                <a:extLst>
                  <a:ext uri="{FF2B5EF4-FFF2-40B4-BE49-F238E27FC236}">
                    <a16:creationId xmlns:a16="http://schemas.microsoft.com/office/drawing/2014/main" id="{C27933B6-51AB-4E9D-A3CB-9FA097A87B83}"/>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0" name="Rectangle 22">
                <a:extLst>
                  <a:ext uri="{FF2B5EF4-FFF2-40B4-BE49-F238E27FC236}">
                    <a16:creationId xmlns:a16="http://schemas.microsoft.com/office/drawing/2014/main" id="{D3C76276-C20E-463B-A9D8-BB5B3DED5675}"/>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1" name="Rectangle 23">
                <a:extLst>
                  <a:ext uri="{FF2B5EF4-FFF2-40B4-BE49-F238E27FC236}">
                    <a16:creationId xmlns:a16="http://schemas.microsoft.com/office/drawing/2014/main" id="{DFC2C430-6C97-4553-8AD5-A3A42861B9E5}"/>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2" name="Rectangle 24">
                <a:extLst>
                  <a:ext uri="{FF2B5EF4-FFF2-40B4-BE49-F238E27FC236}">
                    <a16:creationId xmlns:a16="http://schemas.microsoft.com/office/drawing/2014/main" id="{E55B678F-B623-48CA-A121-44BCC6E201D1}"/>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3" name="Rectangle 25">
                <a:extLst>
                  <a:ext uri="{FF2B5EF4-FFF2-40B4-BE49-F238E27FC236}">
                    <a16:creationId xmlns:a16="http://schemas.microsoft.com/office/drawing/2014/main" id="{964DFB5F-589B-4E4B-802D-9B7E71451B8E}"/>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4" name="Rectangle 26">
                <a:extLst>
                  <a:ext uri="{FF2B5EF4-FFF2-40B4-BE49-F238E27FC236}">
                    <a16:creationId xmlns:a16="http://schemas.microsoft.com/office/drawing/2014/main" id="{5FFBB745-E913-4DDA-A5D1-E5CC5F109FCD}"/>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5" name="Oval 27">
                <a:extLst>
                  <a:ext uri="{FF2B5EF4-FFF2-40B4-BE49-F238E27FC236}">
                    <a16:creationId xmlns:a16="http://schemas.microsoft.com/office/drawing/2014/main" id="{3FDC04F8-EA49-45F8-8742-A37C0C148688}"/>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6" name="Rectangle 28">
                <a:extLst>
                  <a:ext uri="{FF2B5EF4-FFF2-40B4-BE49-F238E27FC236}">
                    <a16:creationId xmlns:a16="http://schemas.microsoft.com/office/drawing/2014/main" id="{0C787C62-9272-4C3D-BDCB-11ADBEAAB593}"/>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7" name="Rectangle 29">
                <a:extLst>
                  <a:ext uri="{FF2B5EF4-FFF2-40B4-BE49-F238E27FC236}">
                    <a16:creationId xmlns:a16="http://schemas.microsoft.com/office/drawing/2014/main" id="{9DD2FE37-4B5B-47CF-B46D-5BBD26332CBC}"/>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8" name="Rectangle 30">
                <a:extLst>
                  <a:ext uri="{FF2B5EF4-FFF2-40B4-BE49-F238E27FC236}">
                    <a16:creationId xmlns:a16="http://schemas.microsoft.com/office/drawing/2014/main" id="{F4AD4B3D-2359-468D-AADE-F4B39346E601}"/>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9" name="Rectangle 31">
                <a:extLst>
                  <a:ext uri="{FF2B5EF4-FFF2-40B4-BE49-F238E27FC236}">
                    <a16:creationId xmlns:a16="http://schemas.microsoft.com/office/drawing/2014/main" id="{CE4AC659-B08A-4AB8-BFCA-0F266CACA3B9}"/>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0" name="Oval 32">
                <a:extLst>
                  <a:ext uri="{FF2B5EF4-FFF2-40B4-BE49-F238E27FC236}">
                    <a16:creationId xmlns:a16="http://schemas.microsoft.com/office/drawing/2014/main" id="{8C0E9BFE-ABDA-459E-9E39-8E07F67F10EB}"/>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1" name="Oval 33">
                <a:extLst>
                  <a:ext uri="{FF2B5EF4-FFF2-40B4-BE49-F238E27FC236}">
                    <a16:creationId xmlns:a16="http://schemas.microsoft.com/office/drawing/2014/main" id="{C6DD8F52-9DFD-4939-AE70-5E23F048D0A7}"/>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2" name="Rectangle 34">
                <a:extLst>
                  <a:ext uri="{FF2B5EF4-FFF2-40B4-BE49-F238E27FC236}">
                    <a16:creationId xmlns:a16="http://schemas.microsoft.com/office/drawing/2014/main" id="{363514CD-988F-461E-9BA4-B19C61FAD12C}"/>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3" name="Rectangle 35">
                <a:extLst>
                  <a:ext uri="{FF2B5EF4-FFF2-40B4-BE49-F238E27FC236}">
                    <a16:creationId xmlns:a16="http://schemas.microsoft.com/office/drawing/2014/main" id="{481A3786-146D-4C30-A06E-D2FB34091595}"/>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4" name="Rectangle 36">
                <a:extLst>
                  <a:ext uri="{FF2B5EF4-FFF2-40B4-BE49-F238E27FC236}">
                    <a16:creationId xmlns:a16="http://schemas.microsoft.com/office/drawing/2014/main" id="{46773D71-CAD2-437E-B3F7-18F9E8A2C540}"/>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85" name="Group 284">
            <a:extLst>
              <a:ext uri="{FF2B5EF4-FFF2-40B4-BE49-F238E27FC236}">
                <a16:creationId xmlns:a16="http://schemas.microsoft.com/office/drawing/2014/main" id="{C43EA895-D7C1-4E16-80FA-09F936ECDA17}"/>
              </a:ext>
              <a:ext uri="{C183D7F6-B498-43B3-948B-1728B52AA6E4}">
                <adec:decorative xmlns:adec="http://schemas.microsoft.com/office/drawing/2017/decorative" val="1"/>
              </a:ext>
            </a:extLst>
          </p:cNvPr>
          <p:cNvGrpSpPr/>
          <p:nvPr/>
        </p:nvGrpSpPr>
        <p:grpSpPr>
          <a:xfrm>
            <a:off x="8547569" y="5480090"/>
            <a:ext cx="3351888" cy="885316"/>
            <a:chOff x="2715436" y="6566040"/>
            <a:chExt cx="3351888" cy="885316"/>
          </a:xfrm>
        </p:grpSpPr>
        <p:sp>
          <p:nvSpPr>
            <p:cNvPr id="286" name="Rectangle 285">
              <a:extLst>
                <a:ext uri="{FF2B5EF4-FFF2-40B4-BE49-F238E27FC236}">
                  <a16:creationId xmlns:a16="http://schemas.microsoft.com/office/drawing/2014/main" id="{7D8536C4-8856-4230-B2F7-82CD04E8428E}"/>
                </a:ext>
              </a:extLst>
            </p:cNvPr>
            <p:cNvSpPr/>
            <p:nvPr/>
          </p:nvSpPr>
          <p:spPr bwMode="auto">
            <a:xfrm>
              <a:off x="2715436" y="6566040"/>
              <a:ext cx="3351888" cy="885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Technical skill building  </a:t>
              </a:r>
            </a:p>
          </p:txBody>
        </p:sp>
        <p:grpSp>
          <p:nvGrpSpPr>
            <p:cNvPr id="287" name="evolve" descr="evolve">
              <a:extLst>
                <a:ext uri="{FF2B5EF4-FFF2-40B4-BE49-F238E27FC236}">
                  <a16:creationId xmlns:a16="http://schemas.microsoft.com/office/drawing/2014/main" id="{F35FDDD4-1E44-4E22-9033-9407AF2027FC}"/>
                </a:ext>
              </a:extLst>
            </p:cNvPr>
            <p:cNvGrpSpPr/>
            <p:nvPr/>
          </p:nvGrpSpPr>
          <p:grpSpPr>
            <a:xfrm>
              <a:off x="2748958" y="6801967"/>
              <a:ext cx="438433" cy="413464"/>
              <a:chOff x="748620" y="3040242"/>
              <a:chExt cx="415510" cy="419004"/>
            </a:xfrm>
          </p:grpSpPr>
          <p:sp>
            <p:nvSpPr>
              <p:cNvPr id="288" name="Freeform: Shape 287">
                <a:extLst>
                  <a:ext uri="{FF2B5EF4-FFF2-40B4-BE49-F238E27FC236}">
                    <a16:creationId xmlns:a16="http://schemas.microsoft.com/office/drawing/2014/main" id="{ACD2F469-42DC-4F62-9EB3-F268478B776F}"/>
                  </a:ext>
                </a:extLst>
              </p:cNvPr>
              <p:cNvSpPr/>
              <p:nvPr/>
            </p:nvSpPr>
            <p:spPr>
              <a:xfrm>
                <a:off x="748620" y="3324316"/>
                <a:ext cx="134930" cy="134930"/>
              </a:xfrm>
              <a:custGeom>
                <a:avLst/>
                <a:gdLst>
                  <a:gd name="connsiteX0" fmla="*/ 1481 w 134929"/>
                  <a:gd name="connsiteY0" fmla="*/ 133958 h 134929"/>
                  <a:gd name="connsiteX1" fmla="*/ 133959 w 134929"/>
                  <a:gd name="connsiteY1" fmla="*/ 133958 h 134929"/>
                  <a:gd name="connsiteX2" fmla="*/ 133959 w 134929"/>
                  <a:gd name="connsiteY2" fmla="*/ 1481 h 134929"/>
                  <a:gd name="connsiteX3" fmla="*/ 1481 w 134929"/>
                  <a:gd name="connsiteY3" fmla="*/ 1481 h 134929"/>
                  <a:gd name="connsiteX4" fmla="*/ 1481 w 134929"/>
                  <a:gd name="connsiteY4" fmla="*/ 133958 h 13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29" h="134929">
                    <a:moveTo>
                      <a:pt x="1481" y="133958"/>
                    </a:moveTo>
                    <a:lnTo>
                      <a:pt x="133959" y="133958"/>
                    </a:lnTo>
                    <a:lnTo>
                      <a:pt x="133959" y="1481"/>
                    </a:lnTo>
                    <a:lnTo>
                      <a:pt x="1481" y="1481"/>
                    </a:lnTo>
                    <a:lnTo>
                      <a:pt x="1481" y="133958"/>
                    </a:ln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B6A0BE9D-53BD-4A48-A6E0-F3FF233B5D8E}"/>
                  </a:ext>
                </a:extLst>
              </p:cNvPr>
              <p:cNvSpPr/>
              <p:nvPr/>
            </p:nvSpPr>
            <p:spPr>
              <a:xfrm>
                <a:off x="899218" y="3182500"/>
                <a:ext cx="134930" cy="134930"/>
              </a:xfrm>
              <a:custGeom>
                <a:avLst/>
                <a:gdLst>
                  <a:gd name="connsiteX0" fmla="*/ 1481 w 134929"/>
                  <a:gd name="connsiteY0" fmla="*/ 32320 h 134929"/>
                  <a:gd name="connsiteX1" fmla="*/ 1481 w 134929"/>
                  <a:gd name="connsiteY1" fmla="*/ 103119 h 134929"/>
                  <a:gd name="connsiteX2" fmla="*/ 32320 w 134929"/>
                  <a:gd name="connsiteY2" fmla="*/ 133958 h 134929"/>
                  <a:gd name="connsiteX3" fmla="*/ 103119 w 134929"/>
                  <a:gd name="connsiteY3" fmla="*/ 133958 h 134929"/>
                  <a:gd name="connsiteX4" fmla="*/ 133958 w 134929"/>
                  <a:gd name="connsiteY4" fmla="*/ 103119 h 134929"/>
                  <a:gd name="connsiteX5" fmla="*/ 133958 w 134929"/>
                  <a:gd name="connsiteY5" fmla="*/ 32320 h 134929"/>
                  <a:gd name="connsiteX6" fmla="*/ 103119 w 134929"/>
                  <a:gd name="connsiteY6" fmla="*/ 1481 h 134929"/>
                  <a:gd name="connsiteX7" fmla="*/ 32754 w 134929"/>
                  <a:gd name="connsiteY7" fmla="*/ 1481 h 134929"/>
                  <a:gd name="connsiteX8" fmla="*/ 1481 w 134929"/>
                  <a:gd name="connsiteY8" fmla="*/ 32320 h 13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29" h="134929">
                    <a:moveTo>
                      <a:pt x="1481" y="32320"/>
                    </a:moveTo>
                    <a:lnTo>
                      <a:pt x="1481" y="103119"/>
                    </a:lnTo>
                    <a:cubicBezTo>
                      <a:pt x="1481" y="120059"/>
                      <a:pt x="15380" y="133958"/>
                      <a:pt x="32320" y="133958"/>
                    </a:cubicBezTo>
                    <a:lnTo>
                      <a:pt x="103119" y="133958"/>
                    </a:lnTo>
                    <a:cubicBezTo>
                      <a:pt x="120059" y="133958"/>
                      <a:pt x="133958" y="120059"/>
                      <a:pt x="133958" y="103119"/>
                    </a:cubicBezTo>
                    <a:lnTo>
                      <a:pt x="133958" y="32320"/>
                    </a:lnTo>
                    <a:cubicBezTo>
                      <a:pt x="133958" y="15380"/>
                      <a:pt x="120059" y="1481"/>
                      <a:pt x="103119" y="1481"/>
                    </a:cubicBezTo>
                    <a:lnTo>
                      <a:pt x="32754" y="1481"/>
                    </a:lnTo>
                    <a:cubicBezTo>
                      <a:pt x="15380" y="1481"/>
                      <a:pt x="1481" y="14945"/>
                      <a:pt x="1481" y="32320"/>
                    </a:cubicBez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F6721169-936A-4CAD-AACE-C5E7D3E39C62}"/>
                  </a:ext>
                </a:extLst>
              </p:cNvPr>
              <p:cNvSpPr/>
              <p:nvPr/>
            </p:nvSpPr>
            <p:spPr>
              <a:xfrm>
                <a:off x="1033553" y="3040242"/>
                <a:ext cx="130577" cy="130577"/>
              </a:xfrm>
              <a:custGeom>
                <a:avLst/>
                <a:gdLst>
                  <a:gd name="connsiteX0" fmla="*/ 1481 w 130577"/>
                  <a:gd name="connsiteY0" fmla="*/ 66634 h 130577"/>
                  <a:gd name="connsiteX1" fmla="*/ 66634 w 130577"/>
                  <a:gd name="connsiteY1" fmla="*/ 131787 h 130577"/>
                  <a:gd name="connsiteX2" fmla="*/ 67502 w 130577"/>
                  <a:gd name="connsiteY2" fmla="*/ 131787 h 130577"/>
                  <a:gd name="connsiteX3" fmla="*/ 132655 w 130577"/>
                  <a:gd name="connsiteY3" fmla="*/ 66634 h 130577"/>
                  <a:gd name="connsiteX4" fmla="*/ 67502 w 130577"/>
                  <a:gd name="connsiteY4" fmla="*/ 1481 h 130577"/>
                  <a:gd name="connsiteX5" fmla="*/ 66634 w 130577"/>
                  <a:gd name="connsiteY5" fmla="*/ 1481 h 130577"/>
                  <a:gd name="connsiteX6" fmla="*/ 1481 w 130577"/>
                  <a:gd name="connsiteY6" fmla="*/ 66634 h 1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7" h="130577">
                    <a:moveTo>
                      <a:pt x="1481" y="66634"/>
                    </a:moveTo>
                    <a:cubicBezTo>
                      <a:pt x="1481" y="102685"/>
                      <a:pt x="30582" y="131787"/>
                      <a:pt x="66634" y="131787"/>
                    </a:cubicBezTo>
                    <a:lnTo>
                      <a:pt x="67502" y="131787"/>
                    </a:lnTo>
                    <a:cubicBezTo>
                      <a:pt x="103553" y="131787"/>
                      <a:pt x="132655" y="102685"/>
                      <a:pt x="132655" y="66634"/>
                    </a:cubicBezTo>
                    <a:cubicBezTo>
                      <a:pt x="132655" y="30582"/>
                      <a:pt x="103553" y="1481"/>
                      <a:pt x="67502" y="1481"/>
                    </a:cubicBezTo>
                    <a:lnTo>
                      <a:pt x="66634" y="1481"/>
                    </a:lnTo>
                    <a:cubicBezTo>
                      <a:pt x="30582" y="1481"/>
                      <a:pt x="1481" y="30582"/>
                      <a:pt x="1481" y="66634"/>
                    </a:cubicBezTo>
                    <a:close/>
                  </a:path>
                </a:pathLst>
              </a:custGeom>
              <a:solidFill>
                <a:srgbClr val="50E6FF"/>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91" name="Group 290">
            <a:extLst>
              <a:ext uri="{FF2B5EF4-FFF2-40B4-BE49-F238E27FC236}">
                <a16:creationId xmlns:a16="http://schemas.microsoft.com/office/drawing/2014/main" id="{C0F1C1EC-351E-4AA9-BCC5-0C00566CA35C}"/>
              </a:ext>
              <a:ext uri="{C183D7F6-B498-43B3-948B-1728B52AA6E4}">
                <adec:decorative xmlns:adec="http://schemas.microsoft.com/office/drawing/2017/decorative" val="1"/>
              </a:ext>
            </a:extLst>
          </p:cNvPr>
          <p:cNvGrpSpPr/>
          <p:nvPr/>
        </p:nvGrpSpPr>
        <p:grpSpPr>
          <a:xfrm>
            <a:off x="8547594" y="4549235"/>
            <a:ext cx="3156104" cy="885316"/>
            <a:chOff x="6955760" y="6268987"/>
            <a:chExt cx="3156104" cy="885316"/>
          </a:xfrm>
        </p:grpSpPr>
        <p:sp>
          <p:nvSpPr>
            <p:cNvPr id="292" name="Rectangle 291">
              <a:extLst>
                <a:ext uri="{FF2B5EF4-FFF2-40B4-BE49-F238E27FC236}">
                  <a16:creationId xmlns:a16="http://schemas.microsoft.com/office/drawing/2014/main" id="{512C9410-469C-4662-8F1B-C656E80C8580}"/>
                </a:ext>
              </a:extLst>
            </p:cNvPr>
            <p:cNvSpPr/>
            <p:nvPr/>
          </p:nvSpPr>
          <p:spPr bwMode="auto">
            <a:xfrm>
              <a:off x="6974690" y="6268987"/>
              <a:ext cx="3137174" cy="885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Expert help from specialized partners</a:t>
              </a:r>
            </a:p>
          </p:txBody>
        </p:sp>
        <p:grpSp>
          <p:nvGrpSpPr>
            <p:cNvPr id="293" name="Group 292">
              <a:extLst>
                <a:ext uri="{FF2B5EF4-FFF2-40B4-BE49-F238E27FC236}">
                  <a16:creationId xmlns:a16="http://schemas.microsoft.com/office/drawing/2014/main" id="{B1A9C5D0-A71E-4AEF-841D-D8702CA91C3C}"/>
                </a:ext>
              </a:extLst>
            </p:cNvPr>
            <p:cNvGrpSpPr/>
            <p:nvPr/>
          </p:nvGrpSpPr>
          <p:grpSpPr>
            <a:xfrm>
              <a:off x="6955760" y="6524754"/>
              <a:ext cx="485311" cy="373769"/>
              <a:chOff x="9129166" y="4231703"/>
              <a:chExt cx="524745" cy="450126"/>
            </a:xfrm>
          </p:grpSpPr>
          <p:grpSp>
            <p:nvGrpSpPr>
              <p:cNvPr id="294" name="management at scale" descr="management at scale">
                <a:extLst>
                  <a:ext uri="{FF2B5EF4-FFF2-40B4-BE49-F238E27FC236}">
                    <a16:creationId xmlns:a16="http://schemas.microsoft.com/office/drawing/2014/main" id="{F54E5706-44DD-4108-9BF4-522C507D7F0A}"/>
                  </a:ext>
                </a:extLst>
              </p:cNvPr>
              <p:cNvGrpSpPr>
                <a:grpSpLocks noChangeAspect="1"/>
              </p:cNvGrpSpPr>
              <p:nvPr/>
            </p:nvGrpSpPr>
            <p:grpSpPr bwMode="auto">
              <a:xfrm flipH="1" flipV="1">
                <a:off x="9257032" y="4231703"/>
                <a:ext cx="396879" cy="401632"/>
                <a:chOff x="2844" y="774"/>
                <a:chExt cx="250" cy="253"/>
              </a:xfrm>
            </p:grpSpPr>
            <p:sp>
              <p:nvSpPr>
                <p:cNvPr id="298" name="AutoShape 27">
                  <a:extLst>
                    <a:ext uri="{FF2B5EF4-FFF2-40B4-BE49-F238E27FC236}">
                      <a16:creationId xmlns:a16="http://schemas.microsoft.com/office/drawing/2014/main" id="{BD8C8775-B8EC-44B1-B3A2-2387FC0FA30B}"/>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9" name="Freeform 29">
                  <a:extLst>
                    <a:ext uri="{FF2B5EF4-FFF2-40B4-BE49-F238E27FC236}">
                      <a16:creationId xmlns:a16="http://schemas.microsoft.com/office/drawing/2014/main" id="{6EC87412-4CEB-46BA-BBB8-17E3F824E969}"/>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0" name="Freeform 30">
                  <a:extLst>
                    <a:ext uri="{FF2B5EF4-FFF2-40B4-BE49-F238E27FC236}">
                      <a16:creationId xmlns:a16="http://schemas.microsoft.com/office/drawing/2014/main" id="{7FD0319C-7D16-4705-9655-E8755A050062}"/>
                    </a:ext>
                  </a:extLst>
                </p:cNvPr>
                <p:cNvSpPr>
                  <a:spLocks/>
                </p:cNvSpPr>
                <p:nvPr/>
              </p:nvSpPr>
              <p:spPr bwMode="auto">
                <a:xfrm>
                  <a:off x="2946" y="970"/>
                  <a:ext cx="50"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1" name="Freeform 31">
                  <a:extLst>
                    <a:ext uri="{FF2B5EF4-FFF2-40B4-BE49-F238E27FC236}">
                      <a16:creationId xmlns:a16="http://schemas.microsoft.com/office/drawing/2014/main" id="{CE62DF74-5F01-489C-A33D-CE72C46660A5}"/>
                    </a:ext>
                  </a:extLst>
                </p:cNvPr>
                <p:cNvSpPr>
                  <a:spLocks/>
                </p:cNvSpPr>
                <p:nvPr/>
              </p:nvSpPr>
              <p:spPr bwMode="auto">
                <a:xfrm>
                  <a:off x="2849" y="872"/>
                  <a:ext cx="50"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95" name="person" descr="person">
                <a:extLst>
                  <a:ext uri="{FF2B5EF4-FFF2-40B4-BE49-F238E27FC236}">
                    <a16:creationId xmlns:a16="http://schemas.microsoft.com/office/drawing/2014/main" id="{7BC811A6-B445-4CC1-8A7D-15F6F0DA0A93}"/>
                  </a:ext>
                </a:extLst>
              </p:cNvPr>
              <p:cNvGrpSpPr/>
              <p:nvPr/>
            </p:nvGrpSpPr>
            <p:grpSpPr>
              <a:xfrm>
                <a:off x="9129166" y="4339601"/>
                <a:ext cx="271707" cy="342228"/>
                <a:chOff x="5522452" y="3368919"/>
                <a:chExt cx="224223" cy="282423"/>
              </a:xfrm>
            </p:grpSpPr>
            <p:sp>
              <p:nvSpPr>
                <p:cNvPr id="296" name="Freeform: Shape 295">
                  <a:extLst>
                    <a:ext uri="{FF2B5EF4-FFF2-40B4-BE49-F238E27FC236}">
                      <a16:creationId xmlns:a16="http://schemas.microsoft.com/office/drawing/2014/main" id="{4A8F2075-B11E-44DE-BB68-CF2C3A4334E6}"/>
                    </a:ext>
                  </a:extLst>
                </p:cNvPr>
                <p:cNvSpPr/>
                <p:nvPr/>
              </p:nvSpPr>
              <p:spPr>
                <a:xfrm>
                  <a:off x="5573067" y="3368919"/>
                  <a:ext cx="121859"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7" name="Freeform: Shape 296">
                  <a:extLst>
                    <a:ext uri="{FF2B5EF4-FFF2-40B4-BE49-F238E27FC236}">
                      <a16:creationId xmlns:a16="http://schemas.microsoft.com/office/drawing/2014/main" id="{ABDF02A1-9A0B-4891-9227-EEBA656AC734}"/>
                    </a:ext>
                  </a:extLst>
                </p:cNvPr>
                <p:cNvSpPr/>
                <p:nvPr/>
              </p:nvSpPr>
              <p:spPr>
                <a:xfrm>
                  <a:off x="5522452" y="3519435"/>
                  <a:ext cx="224223"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302" name="Group 301">
            <a:extLst>
              <a:ext uri="{FF2B5EF4-FFF2-40B4-BE49-F238E27FC236}">
                <a16:creationId xmlns:a16="http://schemas.microsoft.com/office/drawing/2014/main" id="{6DB19D53-FD91-45A9-A91D-ACC728D70364}"/>
              </a:ext>
              <a:ext uri="{C183D7F6-B498-43B3-948B-1728B52AA6E4}">
                <adec:decorative xmlns:adec="http://schemas.microsoft.com/office/drawing/2017/decorative" val="1"/>
              </a:ext>
            </a:extLst>
          </p:cNvPr>
          <p:cNvGrpSpPr/>
          <p:nvPr/>
        </p:nvGrpSpPr>
        <p:grpSpPr>
          <a:xfrm>
            <a:off x="532126" y="5480090"/>
            <a:ext cx="3319793" cy="885316"/>
            <a:chOff x="2453763" y="2497595"/>
            <a:chExt cx="3246765" cy="885441"/>
          </a:xfrm>
        </p:grpSpPr>
        <p:sp>
          <p:nvSpPr>
            <p:cNvPr id="303" name="Rectangle 302">
              <a:extLst>
                <a:ext uri="{FF2B5EF4-FFF2-40B4-BE49-F238E27FC236}">
                  <a16:creationId xmlns:a16="http://schemas.microsoft.com/office/drawing/2014/main" id="{EE3350CE-3A0E-400C-A0EC-42C59C750424}"/>
                </a:ext>
              </a:extLst>
            </p:cNvPr>
            <p:cNvSpPr/>
            <p:nvPr/>
          </p:nvSpPr>
          <p:spPr bwMode="auto">
            <a:xfrm>
              <a:off x="2453763" y="2497595"/>
              <a:ext cx="3246765"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Holistic Infrastructure migration </a:t>
              </a:r>
            </a:p>
          </p:txBody>
        </p:sp>
        <p:grpSp>
          <p:nvGrpSpPr>
            <p:cNvPr id="304" name="modular 1" descr="modular">
              <a:extLst>
                <a:ext uri="{FF2B5EF4-FFF2-40B4-BE49-F238E27FC236}">
                  <a16:creationId xmlns:a16="http://schemas.microsoft.com/office/drawing/2014/main" id="{BBA0E537-A869-4B5B-9235-3B49198E891D}"/>
                </a:ext>
              </a:extLst>
            </p:cNvPr>
            <p:cNvGrpSpPr/>
            <p:nvPr/>
          </p:nvGrpSpPr>
          <p:grpSpPr>
            <a:xfrm>
              <a:off x="2497822" y="2745138"/>
              <a:ext cx="417438" cy="390378"/>
              <a:chOff x="3557434" y="2181241"/>
              <a:chExt cx="406193" cy="406193"/>
            </a:xfrm>
          </p:grpSpPr>
          <p:sp>
            <p:nvSpPr>
              <p:cNvPr id="305" name="Rectangle 458">
                <a:extLst>
                  <a:ext uri="{FF2B5EF4-FFF2-40B4-BE49-F238E27FC236}">
                    <a16:creationId xmlns:a16="http://schemas.microsoft.com/office/drawing/2014/main" id="{5E2E92F6-7219-4EF3-9BF1-B74125D57D5F}"/>
                  </a:ext>
                </a:extLst>
              </p:cNvPr>
              <p:cNvSpPr>
                <a:spLocks noChangeArrowheads="1"/>
              </p:cNvSpPr>
              <p:nvPr/>
            </p:nvSpPr>
            <p:spPr bwMode="auto">
              <a:xfrm>
                <a:off x="3557434" y="2181241"/>
                <a:ext cx="406193"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306" name="Rectangle 459">
                <a:extLst>
                  <a:ext uri="{FF2B5EF4-FFF2-40B4-BE49-F238E27FC236}">
                    <a16:creationId xmlns:a16="http://schemas.microsoft.com/office/drawing/2014/main" id="{1D90AB48-4120-4C30-836F-7E49F6F7C4E5}"/>
                  </a:ext>
                </a:extLst>
              </p:cNvPr>
              <p:cNvSpPr>
                <a:spLocks noChangeArrowheads="1"/>
              </p:cNvSpPr>
              <p:nvPr/>
            </p:nvSpPr>
            <p:spPr bwMode="auto">
              <a:xfrm>
                <a:off x="3557434" y="2223261"/>
                <a:ext cx="406193" cy="14940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307" name="Rectangle 460">
                <a:extLst>
                  <a:ext uri="{FF2B5EF4-FFF2-40B4-BE49-F238E27FC236}">
                    <a16:creationId xmlns:a16="http://schemas.microsoft.com/office/drawing/2014/main" id="{27A79C87-5825-4B42-A1EC-1AABEF9324D7}"/>
                  </a:ext>
                </a:extLst>
              </p:cNvPr>
              <p:cNvSpPr>
                <a:spLocks noChangeArrowheads="1"/>
              </p:cNvSpPr>
              <p:nvPr/>
            </p:nvSpPr>
            <p:spPr bwMode="auto">
              <a:xfrm>
                <a:off x="3557434" y="2394454"/>
                <a:ext cx="85597"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308" name="Rectangle 461">
                <a:extLst>
                  <a:ext uri="{FF2B5EF4-FFF2-40B4-BE49-F238E27FC236}">
                    <a16:creationId xmlns:a16="http://schemas.microsoft.com/office/drawing/2014/main" id="{E22B944C-DABC-4D42-BACF-D62704E0128B}"/>
                  </a:ext>
                </a:extLst>
              </p:cNvPr>
              <p:cNvSpPr>
                <a:spLocks noChangeArrowheads="1"/>
              </p:cNvSpPr>
              <p:nvPr/>
            </p:nvSpPr>
            <p:spPr bwMode="auto">
              <a:xfrm>
                <a:off x="3664818" y="2394454"/>
                <a:ext cx="84040"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309" name="Rectangle 462">
                <a:extLst>
                  <a:ext uri="{FF2B5EF4-FFF2-40B4-BE49-F238E27FC236}">
                    <a16:creationId xmlns:a16="http://schemas.microsoft.com/office/drawing/2014/main" id="{CEF4B9C1-AC63-4A97-A70D-7A7BC83799D5}"/>
                  </a:ext>
                </a:extLst>
              </p:cNvPr>
              <p:cNvSpPr>
                <a:spLocks noChangeArrowheads="1"/>
              </p:cNvSpPr>
              <p:nvPr/>
            </p:nvSpPr>
            <p:spPr bwMode="auto">
              <a:xfrm>
                <a:off x="3770646"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310" name="Rectangle 463">
                <a:extLst>
                  <a:ext uri="{FF2B5EF4-FFF2-40B4-BE49-F238E27FC236}">
                    <a16:creationId xmlns:a16="http://schemas.microsoft.com/office/drawing/2014/main" id="{7D3CD698-2F99-4949-B6E5-99932AFFE5D6}"/>
                  </a:ext>
                </a:extLst>
              </p:cNvPr>
              <p:cNvSpPr>
                <a:spLocks noChangeArrowheads="1"/>
              </p:cNvSpPr>
              <p:nvPr/>
            </p:nvSpPr>
            <p:spPr bwMode="auto">
              <a:xfrm>
                <a:off x="3878030"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312" name="Rectangle 464">
                <a:extLst>
                  <a:ext uri="{FF2B5EF4-FFF2-40B4-BE49-F238E27FC236}">
                    <a16:creationId xmlns:a16="http://schemas.microsoft.com/office/drawing/2014/main" id="{8E9E6D3A-ABF1-45A5-830D-ED7C59806AD4}"/>
                  </a:ext>
                </a:extLst>
              </p:cNvPr>
              <p:cNvSpPr>
                <a:spLocks noChangeArrowheads="1"/>
              </p:cNvSpPr>
              <p:nvPr/>
            </p:nvSpPr>
            <p:spPr bwMode="auto">
              <a:xfrm>
                <a:off x="3557434" y="2501837"/>
                <a:ext cx="191425"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313" name="Rectangle 465">
                <a:extLst>
                  <a:ext uri="{FF2B5EF4-FFF2-40B4-BE49-F238E27FC236}">
                    <a16:creationId xmlns:a16="http://schemas.microsoft.com/office/drawing/2014/main" id="{6EEA209D-8B6C-426E-8B56-7F3948E4FB5B}"/>
                  </a:ext>
                </a:extLst>
              </p:cNvPr>
              <p:cNvSpPr>
                <a:spLocks noChangeArrowheads="1"/>
              </p:cNvSpPr>
              <p:nvPr/>
            </p:nvSpPr>
            <p:spPr bwMode="auto">
              <a:xfrm>
                <a:off x="3770646" y="2501837"/>
                <a:ext cx="192980"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314" name="Rectangle 313">
            <a:extLst>
              <a:ext uri="{FF2B5EF4-FFF2-40B4-BE49-F238E27FC236}">
                <a16:creationId xmlns:a16="http://schemas.microsoft.com/office/drawing/2014/main" id="{39360DCD-845F-4F45-A15C-236FF27031CE}"/>
              </a:ext>
              <a:ext uri="{C183D7F6-B498-43B3-948B-1728B52AA6E4}">
                <adec:decorative xmlns:adec="http://schemas.microsoft.com/office/drawing/2017/decorative" val="1"/>
              </a:ext>
            </a:extLst>
          </p:cNvPr>
          <p:cNvSpPr/>
          <p:nvPr/>
        </p:nvSpPr>
        <p:spPr bwMode="auto">
          <a:xfrm>
            <a:off x="328578" y="4467428"/>
            <a:ext cx="11653871" cy="2128183"/>
          </a:xfrm>
          <a:prstGeom prst="rect">
            <a:avLst/>
          </a:prstGeom>
          <a:noFill/>
          <a:ln>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TextBox 314">
            <a:extLst>
              <a:ext uri="{FF2B5EF4-FFF2-40B4-BE49-F238E27FC236}">
                <a16:creationId xmlns:a16="http://schemas.microsoft.com/office/drawing/2014/main" id="{86CCCCC7-37C9-48F0-8863-F76EC199BC1E}"/>
              </a:ext>
            </a:extLst>
          </p:cNvPr>
          <p:cNvSpPr txBox="1"/>
          <p:nvPr/>
        </p:nvSpPr>
        <p:spPr>
          <a:xfrm>
            <a:off x="4724434" y="6402258"/>
            <a:ext cx="2736358" cy="369332"/>
          </a:xfrm>
          <a:prstGeom prst="rect">
            <a:avLst/>
          </a:prstGeom>
          <a:solidFill>
            <a:schemeClr val="tx1"/>
          </a:solidFill>
        </p:spPr>
        <p:txBody>
          <a:bodyPr wrap="square" rtlCol="0">
            <a:spAutoFit/>
          </a:bodyPr>
          <a:lstStyle/>
          <a:p>
            <a:r>
              <a:rPr lang="en-US">
                <a:solidFill>
                  <a:schemeClr val="bg1"/>
                </a:solidFill>
              </a:rPr>
              <a:t>Azure Migration Program</a:t>
            </a:r>
          </a:p>
        </p:txBody>
      </p:sp>
    </p:spTree>
    <p:extLst>
      <p:ext uri="{BB962C8B-B14F-4D97-AF65-F5344CB8AC3E}">
        <p14:creationId xmlns:p14="http://schemas.microsoft.com/office/powerpoint/2010/main" val="36686635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F64145-8740-4DB8-9C2B-70A7876C3806}"/>
              </a:ext>
            </a:extLst>
          </p:cNvPr>
          <p:cNvSpPr>
            <a:spLocks noGrp="1"/>
          </p:cNvSpPr>
          <p:nvPr>
            <p:ph type="title"/>
          </p:nvPr>
        </p:nvSpPr>
        <p:spPr/>
        <p:txBody>
          <a:bodyPr/>
          <a:lstStyle/>
          <a:p>
            <a:r>
              <a:rPr lang="en-US">
                <a:latin typeface="Segoe UI Semibold"/>
                <a:cs typeface="Segoe UI"/>
              </a:rPr>
              <a:t>What are the top three most important things to remember?</a:t>
            </a:r>
          </a:p>
        </p:txBody>
      </p:sp>
    </p:spTree>
    <p:extLst>
      <p:ext uri="{BB962C8B-B14F-4D97-AF65-F5344CB8AC3E}">
        <p14:creationId xmlns:p14="http://schemas.microsoft.com/office/powerpoint/2010/main" val="1648403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F64145-8740-4DB8-9C2B-70A7876C3806}"/>
              </a:ext>
            </a:extLst>
          </p:cNvPr>
          <p:cNvSpPr>
            <a:spLocks noGrp="1"/>
          </p:cNvSpPr>
          <p:nvPr>
            <p:ph type="title"/>
          </p:nvPr>
        </p:nvSpPr>
        <p:spPr/>
        <p:txBody>
          <a:bodyPr/>
          <a:lstStyle/>
          <a:p>
            <a:r>
              <a:rPr lang="en-US">
                <a:ea typeface="+mj-lt"/>
                <a:cs typeface="+mj-lt"/>
              </a:rPr>
              <a:t>1.</a:t>
            </a:r>
            <a:br>
              <a:rPr lang="en-US">
                <a:ea typeface="+mj-lt"/>
                <a:cs typeface="+mj-lt"/>
              </a:rPr>
            </a:br>
            <a:r>
              <a:rPr lang="en-US">
                <a:ea typeface="+mj-lt"/>
                <a:cs typeface="+mj-lt"/>
              </a:rPr>
              <a:t>Think about the holistic Azure Core IaaS Stack across Linux and Windows and Hybrid deployment consideration</a:t>
            </a:r>
            <a:endParaRPr lang="zh-TW" altLang="en-US"/>
          </a:p>
        </p:txBody>
      </p:sp>
    </p:spTree>
    <p:extLst>
      <p:ext uri="{BB962C8B-B14F-4D97-AF65-F5344CB8AC3E}">
        <p14:creationId xmlns:p14="http://schemas.microsoft.com/office/powerpoint/2010/main" val="320874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35" name="Table 25">
            <a:extLst>
              <a:ext uri="{FF2B5EF4-FFF2-40B4-BE49-F238E27FC236}">
                <a16:creationId xmlns:a16="http://schemas.microsoft.com/office/drawing/2014/main" id="{E7ED6B57-81DA-4E75-AEC6-02A8CEE4683F}"/>
              </a:ext>
            </a:extLst>
          </p:cNvPr>
          <p:cNvGraphicFramePr>
            <a:graphicFrameLocks noGrp="1"/>
          </p:cNvGraphicFramePr>
          <p:nvPr>
            <p:extLst>
              <p:ext uri="{D42A27DB-BD31-4B8C-83A1-F6EECF244321}">
                <p14:modId xmlns:p14="http://schemas.microsoft.com/office/powerpoint/2010/main" val="979620644"/>
              </p:ext>
            </p:extLst>
          </p:nvPr>
        </p:nvGraphicFramePr>
        <p:xfrm>
          <a:off x="667910" y="1624381"/>
          <a:ext cx="8032330" cy="2865120"/>
        </p:xfrm>
        <a:graphic>
          <a:graphicData uri="http://schemas.openxmlformats.org/drawingml/2006/table">
            <a:tbl>
              <a:tblPr firstRow="1">
                <a:tableStyleId>{5C22544A-7EE6-4342-B048-85BDC9FD1C3A}</a:tableStyleId>
              </a:tblPr>
              <a:tblGrid>
                <a:gridCol w="1606466">
                  <a:extLst>
                    <a:ext uri="{9D8B030D-6E8A-4147-A177-3AD203B41FA5}">
                      <a16:colId xmlns:a16="http://schemas.microsoft.com/office/drawing/2014/main" val="3728697909"/>
                    </a:ext>
                  </a:extLst>
                </a:gridCol>
                <a:gridCol w="1606466">
                  <a:extLst>
                    <a:ext uri="{9D8B030D-6E8A-4147-A177-3AD203B41FA5}">
                      <a16:colId xmlns:a16="http://schemas.microsoft.com/office/drawing/2014/main" val="2988424376"/>
                    </a:ext>
                  </a:extLst>
                </a:gridCol>
                <a:gridCol w="1606466">
                  <a:extLst>
                    <a:ext uri="{9D8B030D-6E8A-4147-A177-3AD203B41FA5}">
                      <a16:colId xmlns:a16="http://schemas.microsoft.com/office/drawing/2014/main" val="2059038276"/>
                    </a:ext>
                  </a:extLst>
                </a:gridCol>
                <a:gridCol w="1606466">
                  <a:extLst>
                    <a:ext uri="{9D8B030D-6E8A-4147-A177-3AD203B41FA5}">
                      <a16:colId xmlns:a16="http://schemas.microsoft.com/office/drawing/2014/main" val="591048136"/>
                    </a:ext>
                  </a:extLst>
                </a:gridCol>
                <a:gridCol w="1606466">
                  <a:extLst>
                    <a:ext uri="{9D8B030D-6E8A-4147-A177-3AD203B41FA5}">
                      <a16:colId xmlns:a16="http://schemas.microsoft.com/office/drawing/2014/main" val="3845722155"/>
                    </a:ext>
                  </a:extLst>
                </a:gridCol>
              </a:tblGrid>
              <a:tr h="142155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ENTRY LEVEL</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BURSTABLE</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GENERAL PURPOSE</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CONFIDENTIAL COMPUTING </a:t>
                      </a:r>
                      <a:endParaRPr lang="en-US" sz="800" kern="0" spc="200"/>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COMPUTE </a:t>
                      </a:r>
                      <a:r>
                        <a:rPr lang="en-US" sz="800" kern="0" spc="200">
                          <a:solidFill>
                            <a:schemeClr val="tx1"/>
                          </a:solidFill>
                          <a:cs typeface="Segoe UI Semibold" panose="020B0702040204020203" pitchFamily="34" charset="0"/>
                        </a:rPr>
                        <a:t>INTENSIVE</a:t>
                      </a:r>
                      <a:endParaRPr lang="en-US" sz="800" kern="0" spc="200"/>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7158161"/>
                  </a:ext>
                </a:extLst>
              </a:tr>
              <a:tr h="1421554">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MEMORY  </a:t>
                      </a:r>
                      <a:r>
                        <a:rPr lang="en-US" sz="800" kern="0" spc="200">
                          <a:solidFill>
                            <a:schemeClr val="tx1"/>
                          </a:solidFill>
                          <a:cs typeface="Segoe UI Semibold" panose="020B0702040204020203" pitchFamily="34" charset="0"/>
                        </a:rPr>
                        <a:t>OPTIMIZ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GPU </a:t>
                      </a:r>
                      <a:r>
                        <a:rPr lang="en-US" sz="800" kern="0" spc="200">
                          <a:solidFill>
                            <a:schemeClr val="tx1"/>
                          </a:solidFill>
                          <a:cs typeface="Segoe UI Semibold" panose="020B0702040204020203" pitchFamily="34" charset="0"/>
                        </a:rPr>
                        <a:t>ACCELERAT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HIGH PERFORMANCE COMPUTING </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STORAGE </a:t>
                      </a:r>
                      <a:r>
                        <a:rPr lang="en-US" sz="800" kern="0" spc="200">
                          <a:solidFill>
                            <a:schemeClr val="tx1"/>
                          </a:solidFill>
                          <a:cs typeface="Segoe UI Semibold" panose="020B0702040204020203" pitchFamily="34" charset="0"/>
                        </a:rPr>
                        <a:t>OPTIMIZ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lang="en-US" sz="800" kern="0" spc="200" dirty="0">
                          <a:solidFill>
                            <a:schemeClr val="tx1"/>
                          </a:solidFill>
                          <a:cs typeface="Segoe UI Semibold" panose="020B0702040204020203" pitchFamily="34" charset="0"/>
                        </a:rPr>
                        <a:t>QUANTUM</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8379827"/>
                  </a:ext>
                </a:extLst>
              </a:tr>
            </a:tbl>
          </a:graphicData>
        </a:graphic>
      </p:graphicFrame>
      <p:sp>
        <p:nvSpPr>
          <p:cNvPr id="16" name="Title 15">
            <a:extLst>
              <a:ext uri="{FF2B5EF4-FFF2-40B4-BE49-F238E27FC236}">
                <a16:creationId xmlns:a16="http://schemas.microsoft.com/office/drawing/2014/main" id="{033E16BC-1B58-42FE-AB2E-9B3BB92AA29F}"/>
              </a:ext>
            </a:extLst>
          </p:cNvPr>
          <p:cNvSpPr>
            <a:spLocks noGrp="1"/>
          </p:cNvSpPr>
          <p:nvPr>
            <p:ph type="title"/>
          </p:nvPr>
        </p:nvSpPr>
        <p:spPr>
          <a:xfrm>
            <a:off x="456366" y="321831"/>
            <a:ext cx="11018520" cy="553998"/>
          </a:xfrm>
        </p:spPr>
        <p:txBody>
          <a:bodyPr/>
          <a:lstStyle/>
          <a:p>
            <a:pPr algn="l"/>
            <a:r>
              <a:rPr lang="en-US" spc="0" dirty="0">
                <a:ln>
                  <a:noFill/>
                </a:ln>
                <a:solidFill>
                  <a:srgbClr val="50E6FF"/>
                </a:solidFill>
                <a:latin typeface="Segoe UI Semibold"/>
                <a:ea typeface="+mj-ea"/>
                <a:cs typeface="+mj-cs"/>
              </a:rPr>
              <a:t>Best-in-class infrastructure for every workload</a:t>
            </a:r>
          </a:p>
        </p:txBody>
      </p:sp>
      <p:grpSp>
        <p:nvGrpSpPr>
          <p:cNvPr id="28" name="Group 27" descr="Purpose -Built table">
            <a:extLst>
              <a:ext uri="{FF2B5EF4-FFF2-40B4-BE49-F238E27FC236}">
                <a16:creationId xmlns:a16="http://schemas.microsoft.com/office/drawing/2014/main" id="{FC29932A-B9C9-480C-ADDC-C1C533FA30D0}"/>
              </a:ext>
            </a:extLst>
          </p:cNvPr>
          <p:cNvGrpSpPr>
            <a:grpSpLocks noChangeAspect="1"/>
          </p:cNvGrpSpPr>
          <p:nvPr/>
        </p:nvGrpSpPr>
        <p:grpSpPr>
          <a:xfrm>
            <a:off x="9422060" y="3602500"/>
            <a:ext cx="1996308" cy="2343248"/>
            <a:chOff x="8582813" y="1425894"/>
            <a:chExt cx="3373582" cy="3959880"/>
          </a:xfrm>
        </p:grpSpPr>
        <p:grpSp>
          <p:nvGrpSpPr>
            <p:cNvPr id="243" name="Group 242">
              <a:extLst>
                <a:ext uri="{FF2B5EF4-FFF2-40B4-BE49-F238E27FC236}">
                  <a16:creationId xmlns:a16="http://schemas.microsoft.com/office/drawing/2014/main" id="{411E2F53-7F2A-48E6-85F8-0EC8A78F06CB}"/>
                </a:ext>
              </a:extLst>
            </p:cNvPr>
            <p:cNvGrpSpPr/>
            <p:nvPr/>
          </p:nvGrpSpPr>
          <p:grpSpPr>
            <a:xfrm>
              <a:off x="8582813" y="1425894"/>
              <a:ext cx="3373582" cy="286063"/>
              <a:chOff x="7032197" y="1650269"/>
              <a:chExt cx="3373582" cy="286063"/>
            </a:xfrm>
          </p:grpSpPr>
          <p:sp>
            <p:nvSpPr>
              <p:cNvPr id="244" name="Rectangle 3">
                <a:extLst>
                  <a:ext uri="{FF2B5EF4-FFF2-40B4-BE49-F238E27FC236}">
                    <a16:creationId xmlns:a16="http://schemas.microsoft.com/office/drawing/2014/main" id="{8F2175A2-D978-4640-938A-B57EE4048963}"/>
                  </a:ext>
                </a:extLst>
              </p:cNvPr>
              <p:cNvSpPr/>
              <p:nvPr/>
            </p:nvSpPr>
            <p:spPr bwMode="auto">
              <a:xfrm>
                <a:off x="7032197" y="1807348"/>
                <a:ext cx="3373582" cy="101542"/>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245" name="TextBox 244">
                <a:extLst>
                  <a:ext uri="{FF2B5EF4-FFF2-40B4-BE49-F238E27FC236}">
                    <a16:creationId xmlns:a16="http://schemas.microsoft.com/office/drawing/2014/main" id="{7E306CE2-8550-49B7-BB14-E99D6DD69598}"/>
                  </a:ext>
                </a:extLst>
              </p:cNvPr>
              <p:cNvSpPr txBox="1"/>
              <p:nvPr/>
            </p:nvSpPr>
            <p:spPr>
              <a:xfrm>
                <a:off x="7588688" y="1650269"/>
                <a:ext cx="2267324" cy="286063"/>
              </a:xfrm>
              <a:prstGeom prst="rect">
                <a:avLst/>
              </a:prstGeom>
              <a:solidFill>
                <a:schemeClr val="bg1"/>
              </a:solid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Semibold"/>
                    <a:ea typeface="+mn-ea"/>
                    <a:cs typeface="+mn-cs"/>
                  </a:rPr>
                  <a:t>PURPOSE - BUILT</a:t>
                </a:r>
              </a:p>
            </p:txBody>
          </p:sp>
        </p:grpSp>
        <p:sp>
          <p:nvSpPr>
            <p:cNvPr id="246" name="Rectangle 3">
              <a:extLst>
                <a:ext uri="{FF2B5EF4-FFF2-40B4-BE49-F238E27FC236}">
                  <a16:creationId xmlns:a16="http://schemas.microsoft.com/office/drawing/2014/main" id="{127F0200-AFC6-4C58-884D-5215AF551134}"/>
                </a:ext>
              </a:extLst>
            </p:cNvPr>
            <p:cNvSpPr/>
            <p:nvPr/>
          </p:nvSpPr>
          <p:spPr bwMode="auto">
            <a:xfrm flipV="1">
              <a:off x="8582813" y="5284232"/>
              <a:ext cx="3373582" cy="101542"/>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pic>
          <p:nvPicPr>
            <p:cNvPr id="247" name="Picture 2" descr="See the source image">
              <a:extLst>
                <a:ext uri="{FF2B5EF4-FFF2-40B4-BE49-F238E27FC236}">
                  <a16:creationId xmlns:a16="http://schemas.microsoft.com/office/drawing/2014/main" id="{33004650-3585-4A79-B40C-95094DFF73E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72000"/>
                      </a14:imgEffect>
                    </a14:imgLayer>
                  </a14:imgProps>
                </a:ext>
                <a:ext uri="{28A0092B-C50C-407E-A947-70E740481C1C}">
                  <a14:useLocalDpi xmlns:a14="http://schemas.microsoft.com/office/drawing/2010/main" val="0"/>
                </a:ext>
              </a:extLst>
            </a:blip>
            <a:srcRect/>
            <a:stretch>
              <a:fillRect/>
            </a:stretch>
          </p:blipFill>
          <p:spPr bwMode="auto">
            <a:xfrm>
              <a:off x="9222845" y="2009734"/>
              <a:ext cx="2093518" cy="45632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48" name="Picture 2" descr="See the source image">
              <a:extLst>
                <a:ext uri="{FF2B5EF4-FFF2-40B4-BE49-F238E27FC236}">
                  <a16:creationId xmlns:a16="http://schemas.microsoft.com/office/drawing/2014/main" id="{B54E7D78-23C6-47EF-A1E8-15ED067167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33720" y="2881139"/>
              <a:ext cx="1471768" cy="74949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49" name="Picture 2" descr="See the source image">
              <a:extLst>
                <a:ext uri="{FF2B5EF4-FFF2-40B4-BE49-F238E27FC236}">
                  <a16:creationId xmlns:a16="http://schemas.microsoft.com/office/drawing/2014/main" id="{ACE6A7F2-4767-4700-BDF8-59A059562FC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7503" b="40273"/>
            <a:stretch/>
          </p:blipFill>
          <p:spPr bwMode="auto">
            <a:xfrm>
              <a:off x="9353320" y="4045713"/>
              <a:ext cx="1832568" cy="27150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250" name="Group 249">
              <a:extLst>
                <a:ext uri="{FF2B5EF4-FFF2-40B4-BE49-F238E27FC236}">
                  <a16:creationId xmlns:a16="http://schemas.microsoft.com/office/drawing/2014/main" id="{DE9FA3EF-2279-46F2-8AAD-368F1461DD22}"/>
                </a:ext>
              </a:extLst>
            </p:cNvPr>
            <p:cNvGrpSpPr/>
            <p:nvPr/>
          </p:nvGrpSpPr>
          <p:grpSpPr>
            <a:xfrm>
              <a:off x="9151437" y="4732305"/>
              <a:ext cx="2236334" cy="391941"/>
              <a:chOff x="7600821" y="5118041"/>
              <a:chExt cx="2236334" cy="391941"/>
            </a:xfrm>
          </p:grpSpPr>
          <p:pic>
            <p:nvPicPr>
              <p:cNvPr id="251" name="Picture 2" descr="See the source image">
                <a:extLst>
                  <a:ext uri="{FF2B5EF4-FFF2-40B4-BE49-F238E27FC236}">
                    <a16:creationId xmlns:a16="http://schemas.microsoft.com/office/drawing/2014/main" id="{69AF3084-1259-4789-BF9A-D8CAF558CDA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00821" y="5118041"/>
                <a:ext cx="2236334" cy="39194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2" name="Picture 2" descr="See the source image">
                <a:extLst>
                  <a:ext uri="{FF2B5EF4-FFF2-40B4-BE49-F238E27FC236}">
                    <a16:creationId xmlns:a16="http://schemas.microsoft.com/office/drawing/2014/main" id="{6278C1C6-9E41-41FF-80B2-E886C25F824C}"/>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19657"/>
              <a:stretch/>
            </p:blipFill>
            <p:spPr bwMode="auto">
              <a:xfrm>
                <a:off x="8040413" y="5118041"/>
                <a:ext cx="1796741" cy="391941"/>
              </a:xfrm>
              <a:prstGeom prst="rect">
                <a:avLst/>
              </a:prstGeom>
              <a:noFill/>
              <a:ln>
                <a:noFill/>
              </a:ln>
              <a:extLst>
                <a:ext uri="{909E8E84-426E-40DD-AFC4-6F175D3DCCD1}">
                  <a14:hiddenFill xmlns:a14="http://schemas.microsoft.com/office/drawing/2010/main">
                    <a:solidFill>
                      <a:srgbClr val="FFFFFF"/>
                    </a:solidFill>
                  </a14:hiddenFill>
                </a:ext>
              </a:extLst>
            </p:spPr>
          </p:pic>
        </p:grpSp>
      </p:grpSp>
      <p:grpSp>
        <p:nvGrpSpPr>
          <p:cNvPr id="40" name="Group 39" descr="Standard HDD">
            <a:extLst>
              <a:ext uri="{FF2B5EF4-FFF2-40B4-BE49-F238E27FC236}">
                <a16:creationId xmlns:a16="http://schemas.microsoft.com/office/drawing/2014/main" id="{47E9CE28-300C-449F-BA4D-F8D1F1E79A9C}"/>
              </a:ext>
            </a:extLst>
          </p:cNvPr>
          <p:cNvGrpSpPr/>
          <p:nvPr/>
        </p:nvGrpSpPr>
        <p:grpSpPr>
          <a:xfrm>
            <a:off x="1373214" y="5082383"/>
            <a:ext cx="1331271" cy="555677"/>
            <a:chOff x="1609010" y="4893073"/>
            <a:chExt cx="1331271" cy="555677"/>
          </a:xfrm>
        </p:grpSpPr>
        <p:grpSp>
          <p:nvGrpSpPr>
            <p:cNvPr id="265" name="Group 264">
              <a:extLst>
                <a:ext uri="{FF2B5EF4-FFF2-40B4-BE49-F238E27FC236}">
                  <a16:creationId xmlns:a16="http://schemas.microsoft.com/office/drawing/2014/main" id="{038BF938-24B6-4D94-BAD1-C3B226269770}"/>
                </a:ext>
              </a:extLst>
            </p:cNvPr>
            <p:cNvGrpSpPr/>
            <p:nvPr/>
          </p:nvGrpSpPr>
          <p:grpSpPr>
            <a:xfrm>
              <a:off x="1785432" y="4893073"/>
              <a:ext cx="978436" cy="270209"/>
              <a:chOff x="2490292" y="4146639"/>
              <a:chExt cx="1245205" cy="343882"/>
            </a:xfrm>
          </p:grpSpPr>
          <p:grpSp>
            <p:nvGrpSpPr>
              <p:cNvPr id="325" name="Group 324">
                <a:extLst>
                  <a:ext uri="{FF2B5EF4-FFF2-40B4-BE49-F238E27FC236}">
                    <a16:creationId xmlns:a16="http://schemas.microsoft.com/office/drawing/2014/main" id="{6DAE9A1D-4B6D-49A5-A335-61AA76F846E4}"/>
                  </a:ext>
                </a:extLst>
              </p:cNvPr>
              <p:cNvGrpSpPr/>
              <p:nvPr/>
            </p:nvGrpSpPr>
            <p:grpSpPr>
              <a:xfrm>
                <a:off x="2490292" y="4146639"/>
                <a:ext cx="343800" cy="343882"/>
                <a:chOff x="4354130" y="2075422"/>
                <a:chExt cx="350694" cy="350778"/>
              </a:xfrm>
            </p:grpSpPr>
            <p:sp>
              <p:nvSpPr>
                <p:cNvPr id="334" name="StorageOptical_E958" title="Icon of a hard disk">
                  <a:extLst>
                    <a:ext uri="{FF2B5EF4-FFF2-40B4-BE49-F238E27FC236}">
                      <a16:creationId xmlns:a16="http://schemas.microsoft.com/office/drawing/2014/main" id="{92376752-3833-4575-8A7E-B01E4A760D0B}"/>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335" name="Straight Connector 334">
                  <a:extLst>
                    <a:ext uri="{FF2B5EF4-FFF2-40B4-BE49-F238E27FC236}">
                      <a16:creationId xmlns:a16="http://schemas.microsoft.com/office/drawing/2014/main" id="{A1A4DED9-4BF9-4D18-A998-F6F645EBE872}"/>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336" name="Straight Connector 335">
                  <a:extLst>
                    <a:ext uri="{FF2B5EF4-FFF2-40B4-BE49-F238E27FC236}">
                      <a16:creationId xmlns:a16="http://schemas.microsoft.com/office/drawing/2014/main" id="{8F49A235-A89B-47FE-A8A9-E049889F1E69}"/>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nvGrpSpPr>
              <p:cNvPr id="326" name="Group 325">
                <a:extLst>
                  <a:ext uri="{FF2B5EF4-FFF2-40B4-BE49-F238E27FC236}">
                    <a16:creationId xmlns:a16="http://schemas.microsoft.com/office/drawing/2014/main" id="{9094BED3-85A2-4B84-8D29-8B719E3DBCA6}"/>
                  </a:ext>
                </a:extLst>
              </p:cNvPr>
              <p:cNvGrpSpPr/>
              <p:nvPr/>
            </p:nvGrpSpPr>
            <p:grpSpPr>
              <a:xfrm>
                <a:off x="2940994" y="4146639"/>
                <a:ext cx="343800" cy="343882"/>
                <a:chOff x="4354130" y="2075422"/>
                <a:chExt cx="350694" cy="350778"/>
              </a:xfrm>
            </p:grpSpPr>
            <p:sp>
              <p:nvSpPr>
                <p:cNvPr id="331" name="StorageOptical_E958" title="Icon of a hard disk">
                  <a:extLst>
                    <a:ext uri="{FF2B5EF4-FFF2-40B4-BE49-F238E27FC236}">
                      <a16:creationId xmlns:a16="http://schemas.microsoft.com/office/drawing/2014/main" id="{EC73FA93-65A6-418E-9319-8DD645022031}"/>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332" name="Straight Connector 331">
                  <a:extLst>
                    <a:ext uri="{FF2B5EF4-FFF2-40B4-BE49-F238E27FC236}">
                      <a16:creationId xmlns:a16="http://schemas.microsoft.com/office/drawing/2014/main" id="{6A1BCC01-D0B3-4185-979E-2E2616AE2C34}"/>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333" name="Straight Connector 332">
                  <a:extLst>
                    <a:ext uri="{FF2B5EF4-FFF2-40B4-BE49-F238E27FC236}">
                      <a16:creationId xmlns:a16="http://schemas.microsoft.com/office/drawing/2014/main" id="{42E29769-05A7-4191-A6B0-42563D569C34}"/>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nvGrpSpPr>
              <p:cNvPr id="327" name="Group 326">
                <a:extLst>
                  <a:ext uri="{FF2B5EF4-FFF2-40B4-BE49-F238E27FC236}">
                    <a16:creationId xmlns:a16="http://schemas.microsoft.com/office/drawing/2014/main" id="{7593AB04-2DE0-44A6-A99C-AF535A2AAD22}"/>
                  </a:ext>
                </a:extLst>
              </p:cNvPr>
              <p:cNvGrpSpPr/>
              <p:nvPr/>
            </p:nvGrpSpPr>
            <p:grpSpPr>
              <a:xfrm>
                <a:off x="3391697" y="4146639"/>
                <a:ext cx="343800" cy="343882"/>
                <a:chOff x="4354130" y="2075422"/>
                <a:chExt cx="350694" cy="350778"/>
              </a:xfrm>
            </p:grpSpPr>
            <p:sp>
              <p:nvSpPr>
                <p:cNvPr id="328" name="StorageOptical_E958" title="Icon of a hard disk">
                  <a:extLst>
                    <a:ext uri="{FF2B5EF4-FFF2-40B4-BE49-F238E27FC236}">
                      <a16:creationId xmlns:a16="http://schemas.microsoft.com/office/drawing/2014/main" id="{5069E751-4F2F-414A-906E-761AFFB2D58C}"/>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329" name="Straight Connector 328">
                  <a:extLst>
                    <a:ext uri="{FF2B5EF4-FFF2-40B4-BE49-F238E27FC236}">
                      <a16:creationId xmlns:a16="http://schemas.microsoft.com/office/drawing/2014/main" id="{346F47AF-67ED-48BE-BAF9-BEB38ACCA972}"/>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330" name="Straight Connector 329">
                  <a:extLst>
                    <a:ext uri="{FF2B5EF4-FFF2-40B4-BE49-F238E27FC236}">
                      <a16:creationId xmlns:a16="http://schemas.microsoft.com/office/drawing/2014/main" id="{F22DC036-E291-4C0A-B274-B5EF5D700D10}"/>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sp>
          <p:nvSpPr>
            <p:cNvPr id="266" name="TextBox 265">
              <a:extLst>
                <a:ext uri="{FF2B5EF4-FFF2-40B4-BE49-F238E27FC236}">
                  <a16:creationId xmlns:a16="http://schemas.microsoft.com/office/drawing/2014/main" id="{2939F24E-EFE8-43FD-8111-BF35106BAAEF}"/>
                </a:ext>
              </a:extLst>
            </p:cNvPr>
            <p:cNvSpPr txBox="1"/>
            <p:nvPr/>
          </p:nvSpPr>
          <p:spPr>
            <a:xfrm>
              <a:off x="1609010" y="5244481"/>
              <a:ext cx="1331271"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tandard HDD</a:t>
              </a:r>
            </a:p>
          </p:txBody>
        </p:sp>
      </p:grpSp>
      <p:grpSp>
        <p:nvGrpSpPr>
          <p:cNvPr id="39" name="Group 38" descr="Standard SSD">
            <a:extLst>
              <a:ext uri="{FF2B5EF4-FFF2-40B4-BE49-F238E27FC236}">
                <a16:creationId xmlns:a16="http://schemas.microsoft.com/office/drawing/2014/main" id="{6E832B19-1F19-4157-B106-4F412644E3AC}"/>
              </a:ext>
            </a:extLst>
          </p:cNvPr>
          <p:cNvGrpSpPr/>
          <p:nvPr/>
        </p:nvGrpSpPr>
        <p:grpSpPr>
          <a:xfrm>
            <a:off x="3127888" y="5021361"/>
            <a:ext cx="1310140" cy="610508"/>
            <a:chOff x="3009911" y="4832051"/>
            <a:chExt cx="1310140" cy="610508"/>
          </a:xfrm>
        </p:grpSpPr>
        <p:grpSp>
          <p:nvGrpSpPr>
            <p:cNvPr id="262" name="Group 261">
              <a:extLst>
                <a:ext uri="{FF2B5EF4-FFF2-40B4-BE49-F238E27FC236}">
                  <a16:creationId xmlns:a16="http://schemas.microsoft.com/office/drawing/2014/main" id="{A7AB86C3-8A8A-4AA6-AD80-865BEE42DF34}"/>
                </a:ext>
              </a:extLst>
            </p:cNvPr>
            <p:cNvGrpSpPr/>
            <p:nvPr/>
          </p:nvGrpSpPr>
          <p:grpSpPr>
            <a:xfrm>
              <a:off x="3169962" y="4832051"/>
              <a:ext cx="990038" cy="335753"/>
              <a:chOff x="4421965" y="4051011"/>
              <a:chExt cx="1259973" cy="427296"/>
            </a:xfrm>
          </p:grpSpPr>
          <p:grpSp>
            <p:nvGrpSpPr>
              <p:cNvPr id="385" name="Group 384">
                <a:extLst>
                  <a:ext uri="{FF2B5EF4-FFF2-40B4-BE49-F238E27FC236}">
                    <a16:creationId xmlns:a16="http://schemas.microsoft.com/office/drawing/2014/main" id="{20C3130F-89C3-4A60-9BB5-A99B17704D6F}"/>
                  </a:ext>
                </a:extLst>
              </p:cNvPr>
              <p:cNvGrpSpPr>
                <a:grpSpLocks noChangeAspect="1"/>
              </p:cNvGrpSpPr>
              <p:nvPr/>
            </p:nvGrpSpPr>
            <p:grpSpPr>
              <a:xfrm>
                <a:off x="4421965" y="4051011"/>
                <a:ext cx="358571" cy="427296"/>
                <a:chOff x="5477750" y="5013499"/>
                <a:chExt cx="268565" cy="320040"/>
              </a:xfrm>
            </p:grpSpPr>
            <p:grpSp>
              <p:nvGrpSpPr>
                <p:cNvPr id="410" name="Group 409">
                  <a:extLst>
                    <a:ext uri="{FF2B5EF4-FFF2-40B4-BE49-F238E27FC236}">
                      <a16:creationId xmlns:a16="http://schemas.microsoft.com/office/drawing/2014/main" id="{9482FB59-B92B-4B7E-BA56-EDA6BFD8D9C2}"/>
                    </a:ext>
                  </a:extLst>
                </p:cNvPr>
                <p:cNvGrpSpPr/>
                <p:nvPr/>
              </p:nvGrpSpPr>
              <p:grpSpPr>
                <a:xfrm>
                  <a:off x="5477750" y="5013499"/>
                  <a:ext cx="268565" cy="320040"/>
                  <a:chOff x="5477750" y="5010341"/>
                  <a:chExt cx="268565" cy="320040"/>
                </a:xfrm>
              </p:grpSpPr>
              <p:sp>
                <p:nvSpPr>
                  <p:cNvPr id="415" name="Freeform 5">
                    <a:extLst>
                      <a:ext uri="{FF2B5EF4-FFF2-40B4-BE49-F238E27FC236}">
                        <a16:creationId xmlns:a16="http://schemas.microsoft.com/office/drawing/2014/main" id="{59B60A78-7F11-4833-B523-2F37B9723218}"/>
                      </a:ext>
                    </a:extLst>
                  </p:cNvPr>
                  <p:cNvSpPr>
                    <a:spLocks/>
                  </p:cNvSpPr>
                  <p:nvPr/>
                </p:nvSpPr>
                <p:spPr bwMode="auto">
                  <a:xfrm>
                    <a:off x="5477750"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94FA5368-3391-4EFC-A700-FD2896A8C403}"/>
                      </a:ext>
                    </a:extLst>
                  </p:cNvPr>
                  <p:cNvGrpSpPr/>
                  <p:nvPr/>
                </p:nvGrpSpPr>
                <p:grpSpPr>
                  <a:xfrm>
                    <a:off x="5518161" y="5046557"/>
                    <a:ext cx="187770" cy="208407"/>
                    <a:chOff x="5513643" y="5046557"/>
                    <a:chExt cx="187770" cy="208407"/>
                  </a:xfrm>
                  <a:solidFill>
                    <a:srgbClr val="0078D3"/>
                  </a:solidFill>
                </p:grpSpPr>
                <p:sp>
                  <p:nvSpPr>
                    <p:cNvPr id="417" name="Oval 416">
                      <a:extLst>
                        <a:ext uri="{FF2B5EF4-FFF2-40B4-BE49-F238E27FC236}">
                          <a16:creationId xmlns:a16="http://schemas.microsoft.com/office/drawing/2014/main" id="{2A4781EE-8B12-4B9C-904D-6B9EE18F32E0}"/>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8" name="Oval 417">
                      <a:extLst>
                        <a:ext uri="{FF2B5EF4-FFF2-40B4-BE49-F238E27FC236}">
                          <a16:creationId xmlns:a16="http://schemas.microsoft.com/office/drawing/2014/main" id="{3D23D064-981C-4724-BB2D-9E402D0A9336}"/>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9" name="Oval 418">
                      <a:extLst>
                        <a:ext uri="{FF2B5EF4-FFF2-40B4-BE49-F238E27FC236}">
                          <a16:creationId xmlns:a16="http://schemas.microsoft.com/office/drawing/2014/main" id="{CAA7385C-4E7E-4D61-88D5-7D7D5DB20FD5}"/>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0" name="Oval 419">
                      <a:extLst>
                        <a:ext uri="{FF2B5EF4-FFF2-40B4-BE49-F238E27FC236}">
                          <a16:creationId xmlns:a16="http://schemas.microsoft.com/office/drawing/2014/main" id="{DCA35600-251E-4131-97D7-AA6544E1C3C2}"/>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11" name="Group 410">
                  <a:extLst>
                    <a:ext uri="{FF2B5EF4-FFF2-40B4-BE49-F238E27FC236}">
                      <a16:creationId xmlns:a16="http://schemas.microsoft.com/office/drawing/2014/main" id="{A480325C-6B11-4619-9B7B-227ED7715D3F}"/>
                    </a:ext>
                  </a:extLst>
                </p:cNvPr>
                <p:cNvGrpSpPr/>
                <p:nvPr/>
              </p:nvGrpSpPr>
              <p:grpSpPr>
                <a:xfrm>
                  <a:off x="5571787" y="5284616"/>
                  <a:ext cx="80519" cy="48923"/>
                  <a:chOff x="5884568" y="5297481"/>
                  <a:chExt cx="80519" cy="48923"/>
                </a:xfrm>
              </p:grpSpPr>
              <p:sp>
                <p:nvSpPr>
                  <p:cNvPr id="412" name="Line 7">
                    <a:extLst>
                      <a:ext uri="{FF2B5EF4-FFF2-40B4-BE49-F238E27FC236}">
                        <a16:creationId xmlns:a16="http://schemas.microsoft.com/office/drawing/2014/main" id="{D479A9BE-55E4-4C64-A17C-F62877A5A1C8}"/>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13" name="Line 8">
                    <a:extLst>
                      <a:ext uri="{FF2B5EF4-FFF2-40B4-BE49-F238E27FC236}">
                        <a16:creationId xmlns:a16="http://schemas.microsoft.com/office/drawing/2014/main" id="{5968F365-93AB-4A70-ADFC-77F4DEE3B3B5}"/>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14" name="Line 9">
                    <a:extLst>
                      <a:ext uri="{FF2B5EF4-FFF2-40B4-BE49-F238E27FC236}">
                        <a16:creationId xmlns:a16="http://schemas.microsoft.com/office/drawing/2014/main" id="{7DC2B09E-7110-40B2-A11D-E1C8A77D1A22}"/>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86" name="Group 385">
                <a:extLst>
                  <a:ext uri="{FF2B5EF4-FFF2-40B4-BE49-F238E27FC236}">
                    <a16:creationId xmlns:a16="http://schemas.microsoft.com/office/drawing/2014/main" id="{6EB87F42-62E7-4127-B9CE-43A70BEB6086}"/>
                  </a:ext>
                </a:extLst>
              </p:cNvPr>
              <p:cNvGrpSpPr>
                <a:grpSpLocks noChangeAspect="1"/>
              </p:cNvGrpSpPr>
              <p:nvPr/>
            </p:nvGrpSpPr>
            <p:grpSpPr>
              <a:xfrm>
                <a:off x="4872665" y="4051011"/>
                <a:ext cx="358569" cy="427296"/>
                <a:chOff x="5477779" y="5013499"/>
                <a:chExt cx="268565" cy="320040"/>
              </a:xfrm>
            </p:grpSpPr>
            <p:grpSp>
              <p:nvGrpSpPr>
                <p:cNvPr id="399" name="Group 398">
                  <a:extLst>
                    <a:ext uri="{FF2B5EF4-FFF2-40B4-BE49-F238E27FC236}">
                      <a16:creationId xmlns:a16="http://schemas.microsoft.com/office/drawing/2014/main" id="{40298EF9-0C99-4998-A6FE-2565593D3B07}"/>
                    </a:ext>
                  </a:extLst>
                </p:cNvPr>
                <p:cNvGrpSpPr/>
                <p:nvPr/>
              </p:nvGrpSpPr>
              <p:grpSpPr>
                <a:xfrm>
                  <a:off x="5477779" y="5013499"/>
                  <a:ext cx="268565" cy="320040"/>
                  <a:chOff x="5477779" y="5010341"/>
                  <a:chExt cx="268565" cy="320040"/>
                </a:xfrm>
              </p:grpSpPr>
              <p:sp>
                <p:nvSpPr>
                  <p:cNvPr id="404" name="Freeform 5">
                    <a:extLst>
                      <a:ext uri="{FF2B5EF4-FFF2-40B4-BE49-F238E27FC236}">
                        <a16:creationId xmlns:a16="http://schemas.microsoft.com/office/drawing/2014/main" id="{15A99CA5-2538-4DE8-B0AE-0205578B02C5}"/>
                      </a:ext>
                    </a:extLst>
                  </p:cNvPr>
                  <p:cNvSpPr>
                    <a:spLocks/>
                  </p:cNvSpPr>
                  <p:nvPr/>
                </p:nvSpPr>
                <p:spPr bwMode="auto">
                  <a:xfrm>
                    <a:off x="5477779"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405" name="Group 404">
                    <a:extLst>
                      <a:ext uri="{FF2B5EF4-FFF2-40B4-BE49-F238E27FC236}">
                        <a16:creationId xmlns:a16="http://schemas.microsoft.com/office/drawing/2014/main" id="{312C5F7F-3A01-478D-8BDC-32B91D8B5893}"/>
                      </a:ext>
                    </a:extLst>
                  </p:cNvPr>
                  <p:cNvGrpSpPr/>
                  <p:nvPr/>
                </p:nvGrpSpPr>
                <p:grpSpPr>
                  <a:xfrm>
                    <a:off x="5518161" y="5046557"/>
                    <a:ext cx="187770" cy="208407"/>
                    <a:chOff x="5513643" y="5046557"/>
                    <a:chExt cx="187770" cy="208407"/>
                  </a:xfrm>
                  <a:solidFill>
                    <a:srgbClr val="0078D3"/>
                  </a:solidFill>
                </p:grpSpPr>
                <p:sp>
                  <p:nvSpPr>
                    <p:cNvPr id="406" name="Oval 405">
                      <a:extLst>
                        <a:ext uri="{FF2B5EF4-FFF2-40B4-BE49-F238E27FC236}">
                          <a16:creationId xmlns:a16="http://schemas.microsoft.com/office/drawing/2014/main" id="{7E49AD01-E182-4BA2-ACC8-2B75E3A104FE}"/>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7" name="Oval 406">
                      <a:extLst>
                        <a:ext uri="{FF2B5EF4-FFF2-40B4-BE49-F238E27FC236}">
                          <a16:creationId xmlns:a16="http://schemas.microsoft.com/office/drawing/2014/main" id="{8B462239-7FDC-4F04-8FE8-A20BCFB98AC7}"/>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8" name="Oval 407">
                      <a:extLst>
                        <a:ext uri="{FF2B5EF4-FFF2-40B4-BE49-F238E27FC236}">
                          <a16:creationId xmlns:a16="http://schemas.microsoft.com/office/drawing/2014/main" id="{754DB007-82C6-4029-838D-42705597FFD6}"/>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9" name="Oval 408">
                      <a:extLst>
                        <a:ext uri="{FF2B5EF4-FFF2-40B4-BE49-F238E27FC236}">
                          <a16:creationId xmlns:a16="http://schemas.microsoft.com/office/drawing/2014/main" id="{6460DC75-7829-4109-9274-900316271D31}"/>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00" name="Group 399">
                  <a:extLst>
                    <a:ext uri="{FF2B5EF4-FFF2-40B4-BE49-F238E27FC236}">
                      <a16:creationId xmlns:a16="http://schemas.microsoft.com/office/drawing/2014/main" id="{C467BA10-2487-49B8-89CC-5F9C0B68FE54}"/>
                    </a:ext>
                  </a:extLst>
                </p:cNvPr>
                <p:cNvGrpSpPr/>
                <p:nvPr/>
              </p:nvGrpSpPr>
              <p:grpSpPr>
                <a:xfrm>
                  <a:off x="5571787" y="5284616"/>
                  <a:ext cx="80519" cy="48923"/>
                  <a:chOff x="5884568" y="5297481"/>
                  <a:chExt cx="80519" cy="48923"/>
                </a:xfrm>
              </p:grpSpPr>
              <p:sp>
                <p:nvSpPr>
                  <p:cNvPr id="401" name="Line 7">
                    <a:extLst>
                      <a:ext uri="{FF2B5EF4-FFF2-40B4-BE49-F238E27FC236}">
                        <a16:creationId xmlns:a16="http://schemas.microsoft.com/office/drawing/2014/main" id="{39D7C2B8-D7A5-4186-ADD5-A572459E72FB}"/>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02" name="Line 8">
                    <a:extLst>
                      <a:ext uri="{FF2B5EF4-FFF2-40B4-BE49-F238E27FC236}">
                        <a16:creationId xmlns:a16="http://schemas.microsoft.com/office/drawing/2014/main" id="{95E2CE8C-95C0-4BC3-822C-06F2D08C32E2}"/>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03" name="Line 9">
                    <a:extLst>
                      <a:ext uri="{FF2B5EF4-FFF2-40B4-BE49-F238E27FC236}">
                        <a16:creationId xmlns:a16="http://schemas.microsoft.com/office/drawing/2014/main" id="{BE9090D8-2A81-4464-A29E-08772255E390}"/>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87" name="Group 386">
                <a:extLst>
                  <a:ext uri="{FF2B5EF4-FFF2-40B4-BE49-F238E27FC236}">
                    <a16:creationId xmlns:a16="http://schemas.microsoft.com/office/drawing/2014/main" id="{88ADAF40-CBCD-4814-99D9-B0A5379E0364}"/>
                  </a:ext>
                </a:extLst>
              </p:cNvPr>
              <p:cNvGrpSpPr>
                <a:grpSpLocks noChangeAspect="1"/>
              </p:cNvGrpSpPr>
              <p:nvPr/>
            </p:nvGrpSpPr>
            <p:grpSpPr>
              <a:xfrm>
                <a:off x="5323367" y="4051011"/>
                <a:ext cx="358571" cy="427296"/>
                <a:chOff x="5477750" y="5013499"/>
                <a:chExt cx="268565" cy="320040"/>
              </a:xfrm>
            </p:grpSpPr>
            <p:grpSp>
              <p:nvGrpSpPr>
                <p:cNvPr id="388" name="Group 387">
                  <a:extLst>
                    <a:ext uri="{FF2B5EF4-FFF2-40B4-BE49-F238E27FC236}">
                      <a16:creationId xmlns:a16="http://schemas.microsoft.com/office/drawing/2014/main" id="{6F73BE2E-321A-4CC9-B327-3B69FCA057FC}"/>
                    </a:ext>
                  </a:extLst>
                </p:cNvPr>
                <p:cNvGrpSpPr/>
                <p:nvPr/>
              </p:nvGrpSpPr>
              <p:grpSpPr>
                <a:xfrm>
                  <a:off x="5477750" y="5013499"/>
                  <a:ext cx="268565" cy="320040"/>
                  <a:chOff x="5477750" y="5010341"/>
                  <a:chExt cx="268565" cy="320040"/>
                </a:xfrm>
              </p:grpSpPr>
              <p:sp>
                <p:nvSpPr>
                  <p:cNvPr id="393" name="Freeform 5">
                    <a:extLst>
                      <a:ext uri="{FF2B5EF4-FFF2-40B4-BE49-F238E27FC236}">
                        <a16:creationId xmlns:a16="http://schemas.microsoft.com/office/drawing/2014/main" id="{641EA31E-A60C-4CEB-B949-3255DE63A856}"/>
                      </a:ext>
                    </a:extLst>
                  </p:cNvPr>
                  <p:cNvSpPr>
                    <a:spLocks/>
                  </p:cNvSpPr>
                  <p:nvPr/>
                </p:nvSpPr>
                <p:spPr bwMode="auto">
                  <a:xfrm>
                    <a:off x="5477750"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94" name="Group 393">
                    <a:extLst>
                      <a:ext uri="{FF2B5EF4-FFF2-40B4-BE49-F238E27FC236}">
                        <a16:creationId xmlns:a16="http://schemas.microsoft.com/office/drawing/2014/main" id="{3876DC1F-44B7-44DB-8195-0FB8821FD42D}"/>
                      </a:ext>
                    </a:extLst>
                  </p:cNvPr>
                  <p:cNvGrpSpPr/>
                  <p:nvPr/>
                </p:nvGrpSpPr>
                <p:grpSpPr>
                  <a:xfrm>
                    <a:off x="5518161" y="5046557"/>
                    <a:ext cx="187770" cy="208407"/>
                    <a:chOff x="5513643" y="5046557"/>
                    <a:chExt cx="187770" cy="208407"/>
                  </a:xfrm>
                  <a:solidFill>
                    <a:srgbClr val="0078D3"/>
                  </a:solidFill>
                </p:grpSpPr>
                <p:sp>
                  <p:nvSpPr>
                    <p:cNvPr id="395" name="Oval 394">
                      <a:extLst>
                        <a:ext uri="{FF2B5EF4-FFF2-40B4-BE49-F238E27FC236}">
                          <a16:creationId xmlns:a16="http://schemas.microsoft.com/office/drawing/2014/main" id="{8F5CB688-A66E-4759-8598-069B10E0BFE0}"/>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Oval 395">
                      <a:extLst>
                        <a:ext uri="{FF2B5EF4-FFF2-40B4-BE49-F238E27FC236}">
                          <a16:creationId xmlns:a16="http://schemas.microsoft.com/office/drawing/2014/main" id="{C741B975-DD42-4E10-B91E-0B979D46A98D}"/>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Oval 396">
                      <a:extLst>
                        <a:ext uri="{FF2B5EF4-FFF2-40B4-BE49-F238E27FC236}">
                          <a16:creationId xmlns:a16="http://schemas.microsoft.com/office/drawing/2014/main" id="{83E1FFE8-9C1D-475F-BA58-B12688FF4F6E}"/>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Oval 397">
                      <a:extLst>
                        <a:ext uri="{FF2B5EF4-FFF2-40B4-BE49-F238E27FC236}">
                          <a16:creationId xmlns:a16="http://schemas.microsoft.com/office/drawing/2014/main" id="{6CE07B89-6C68-4206-870D-707A27D0F292}"/>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89" name="Group 388">
                  <a:extLst>
                    <a:ext uri="{FF2B5EF4-FFF2-40B4-BE49-F238E27FC236}">
                      <a16:creationId xmlns:a16="http://schemas.microsoft.com/office/drawing/2014/main" id="{C18BF50B-8A24-4C55-9BD0-F5B43967B412}"/>
                    </a:ext>
                  </a:extLst>
                </p:cNvPr>
                <p:cNvGrpSpPr/>
                <p:nvPr/>
              </p:nvGrpSpPr>
              <p:grpSpPr>
                <a:xfrm>
                  <a:off x="5571787" y="5284616"/>
                  <a:ext cx="80519" cy="48923"/>
                  <a:chOff x="5884568" y="5297481"/>
                  <a:chExt cx="80519" cy="48923"/>
                </a:xfrm>
              </p:grpSpPr>
              <p:sp>
                <p:nvSpPr>
                  <p:cNvPr id="390" name="Line 7">
                    <a:extLst>
                      <a:ext uri="{FF2B5EF4-FFF2-40B4-BE49-F238E27FC236}">
                        <a16:creationId xmlns:a16="http://schemas.microsoft.com/office/drawing/2014/main" id="{CBDA67D1-808C-451C-B506-8B7172A99D13}"/>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91" name="Line 8">
                    <a:extLst>
                      <a:ext uri="{FF2B5EF4-FFF2-40B4-BE49-F238E27FC236}">
                        <a16:creationId xmlns:a16="http://schemas.microsoft.com/office/drawing/2014/main" id="{2E359386-29D9-4BDB-9D2E-ED30E7F3487F}"/>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92" name="Line 9">
                    <a:extLst>
                      <a:ext uri="{FF2B5EF4-FFF2-40B4-BE49-F238E27FC236}">
                        <a16:creationId xmlns:a16="http://schemas.microsoft.com/office/drawing/2014/main" id="{EAFD60A5-04F4-4FD3-AEDC-369EE0F08004}"/>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sp>
          <p:nvSpPr>
            <p:cNvPr id="267" name="TextBox 266">
              <a:extLst>
                <a:ext uri="{FF2B5EF4-FFF2-40B4-BE49-F238E27FC236}">
                  <a16:creationId xmlns:a16="http://schemas.microsoft.com/office/drawing/2014/main" id="{21C2E165-B095-4209-8531-6BFF07102560}"/>
                </a:ext>
              </a:extLst>
            </p:cNvPr>
            <p:cNvSpPr txBox="1"/>
            <p:nvPr/>
          </p:nvSpPr>
          <p:spPr>
            <a:xfrm>
              <a:off x="3009911" y="5238290"/>
              <a:ext cx="1310140"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tandard SSD</a:t>
              </a:r>
            </a:p>
          </p:txBody>
        </p:sp>
      </p:grpSp>
      <p:grpSp>
        <p:nvGrpSpPr>
          <p:cNvPr id="38" name="Group 37" descr="Premium SSD">
            <a:extLst>
              <a:ext uri="{FF2B5EF4-FFF2-40B4-BE49-F238E27FC236}">
                <a16:creationId xmlns:a16="http://schemas.microsoft.com/office/drawing/2014/main" id="{97B211B1-6E2E-47F9-9EAB-C407F7F8973E}"/>
              </a:ext>
            </a:extLst>
          </p:cNvPr>
          <p:cNvGrpSpPr/>
          <p:nvPr/>
        </p:nvGrpSpPr>
        <p:grpSpPr>
          <a:xfrm>
            <a:off x="4841553" y="5011447"/>
            <a:ext cx="1331271" cy="660315"/>
            <a:chOff x="4314152" y="4822137"/>
            <a:chExt cx="1331271" cy="660315"/>
          </a:xfrm>
        </p:grpSpPr>
        <p:grpSp>
          <p:nvGrpSpPr>
            <p:cNvPr id="264" name="Group 263">
              <a:extLst>
                <a:ext uri="{FF2B5EF4-FFF2-40B4-BE49-F238E27FC236}">
                  <a16:creationId xmlns:a16="http://schemas.microsoft.com/office/drawing/2014/main" id="{C8A23C6D-40C0-450F-BF4D-ABBF844A957B}"/>
                </a:ext>
              </a:extLst>
            </p:cNvPr>
            <p:cNvGrpSpPr/>
            <p:nvPr/>
          </p:nvGrpSpPr>
          <p:grpSpPr>
            <a:xfrm>
              <a:off x="4448600" y="4822137"/>
              <a:ext cx="1102130" cy="448257"/>
              <a:chOff x="6332609" y="4051011"/>
              <a:chExt cx="1402627" cy="570475"/>
            </a:xfrm>
          </p:grpSpPr>
          <p:grpSp>
            <p:nvGrpSpPr>
              <p:cNvPr id="337" name="Group 336">
                <a:extLst>
                  <a:ext uri="{FF2B5EF4-FFF2-40B4-BE49-F238E27FC236}">
                    <a16:creationId xmlns:a16="http://schemas.microsoft.com/office/drawing/2014/main" id="{D7F4527E-1D5F-4353-A740-5CE028C0D0ED}"/>
                  </a:ext>
                </a:extLst>
              </p:cNvPr>
              <p:cNvGrpSpPr/>
              <p:nvPr/>
            </p:nvGrpSpPr>
            <p:grpSpPr>
              <a:xfrm>
                <a:off x="7234013" y="4051011"/>
                <a:ext cx="501223" cy="570475"/>
                <a:chOff x="8618441" y="2851722"/>
                <a:chExt cx="511273" cy="581914"/>
              </a:xfrm>
            </p:grpSpPr>
            <p:grpSp>
              <p:nvGrpSpPr>
                <p:cNvPr id="370" name="Group 369">
                  <a:extLst>
                    <a:ext uri="{FF2B5EF4-FFF2-40B4-BE49-F238E27FC236}">
                      <a16:creationId xmlns:a16="http://schemas.microsoft.com/office/drawing/2014/main" id="{C90AC4C5-D252-43DB-A470-FBF047BD9438}"/>
                    </a:ext>
                  </a:extLst>
                </p:cNvPr>
                <p:cNvGrpSpPr>
                  <a:grpSpLocks noChangeAspect="1"/>
                </p:cNvGrpSpPr>
                <p:nvPr/>
              </p:nvGrpSpPr>
              <p:grpSpPr>
                <a:xfrm>
                  <a:off x="8618441" y="2851722"/>
                  <a:ext cx="365760" cy="435864"/>
                  <a:chOff x="5477764" y="5013499"/>
                  <a:chExt cx="268565" cy="320040"/>
                </a:xfrm>
              </p:grpSpPr>
              <p:grpSp>
                <p:nvGrpSpPr>
                  <p:cNvPr id="374" name="Group 373">
                    <a:extLst>
                      <a:ext uri="{FF2B5EF4-FFF2-40B4-BE49-F238E27FC236}">
                        <a16:creationId xmlns:a16="http://schemas.microsoft.com/office/drawing/2014/main" id="{7F525FEA-8C53-4847-BA1F-6732F11EE532}"/>
                      </a:ext>
                    </a:extLst>
                  </p:cNvPr>
                  <p:cNvGrpSpPr/>
                  <p:nvPr/>
                </p:nvGrpSpPr>
                <p:grpSpPr>
                  <a:xfrm>
                    <a:off x="5477764" y="5013499"/>
                    <a:ext cx="268565" cy="320040"/>
                    <a:chOff x="5477764" y="5010341"/>
                    <a:chExt cx="268565" cy="320040"/>
                  </a:xfrm>
                </p:grpSpPr>
                <p:sp>
                  <p:nvSpPr>
                    <p:cNvPr id="379" name="Freeform 5">
                      <a:extLst>
                        <a:ext uri="{FF2B5EF4-FFF2-40B4-BE49-F238E27FC236}">
                          <a16:creationId xmlns:a16="http://schemas.microsoft.com/office/drawing/2014/main" id="{EE3126C5-5428-4144-BBB4-A3059611372E}"/>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80" name="Group 379">
                      <a:extLst>
                        <a:ext uri="{FF2B5EF4-FFF2-40B4-BE49-F238E27FC236}">
                          <a16:creationId xmlns:a16="http://schemas.microsoft.com/office/drawing/2014/main" id="{71333F6E-298A-48AE-87A3-8ABE4001F735}"/>
                        </a:ext>
                      </a:extLst>
                    </p:cNvPr>
                    <p:cNvGrpSpPr/>
                    <p:nvPr/>
                  </p:nvGrpSpPr>
                  <p:grpSpPr>
                    <a:xfrm>
                      <a:off x="5518161" y="5046557"/>
                      <a:ext cx="187770" cy="208407"/>
                      <a:chOff x="5513643" y="5046557"/>
                      <a:chExt cx="187770" cy="208407"/>
                    </a:xfrm>
                    <a:solidFill>
                      <a:srgbClr val="0078D3"/>
                    </a:solidFill>
                  </p:grpSpPr>
                  <p:sp>
                    <p:nvSpPr>
                      <p:cNvPr id="381" name="Oval 380">
                        <a:extLst>
                          <a:ext uri="{FF2B5EF4-FFF2-40B4-BE49-F238E27FC236}">
                            <a16:creationId xmlns:a16="http://schemas.microsoft.com/office/drawing/2014/main" id="{CB9028B9-A6C4-4611-8EE5-ED0FD6DE45B8}"/>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2" name="Oval 381">
                        <a:extLst>
                          <a:ext uri="{FF2B5EF4-FFF2-40B4-BE49-F238E27FC236}">
                            <a16:creationId xmlns:a16="http://schemas.microsoft.com/office/drawing/2014/main" id="{25E0576D-8286-46F0-B070-11E563BA5596}"/>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3" name="Oval 382">
                        <a:extLst>
                          <a:ext uri="{FF2B5EF4-FFF2-40B4-BE49-F238E27FC236}">
                            <a16:creationId xmlns:a16="http://schemas.microsoft.com/office/drawing/2014/main" id="{37117CFC-8A51-4749-9D26-1360CD300132}"/>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4" name="Oval 383">
                        <a:extLst>
                          <a:ext uri="{FF2B5EF4-FFF2-40B4-BE49-F238E27FC236}">
                            <a16:creationId xmlns:a16="http://schemas.microsoft.com/office/drawing/2014/main" id="{8D0E7142-838B-47B0-AE8A-9190B7C30630}"/>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75" name="Group 374">
                    <a:extLst>
                      <a:ext uri="{FF2B5EF4-FFF2-40B4-BE49-F238E27FC236}">
                        <a16:creationId xmlns:a16="http://schemas.microsoft.com/office/drawing/2014/main" id="{6133EDAD-EA4D-4F03-B80B-FDABA7CEBD36}"/>
                      </a:ext>
                    </a:extLst>
                  </p:cNvPr>
                  <p:cNvGrpSpPr/>
                  <p:nvPr/>
                </p:nvGrpSpPr>
                <p:grpSpPr>
                  <a:xfrm>
                    <a:off x="5571787" y="5284616"/>
                    <a:ext cx="80519" cy="48923"/>
                    <a:chOff x="5884568" y="5297481"/>
                    <a:chExt cx="80519" cy="48923"/>
                  </a:xfrm>
                </p:grpSpPr>
                <p:sp>
                  <p:nvSpPr>
                    <p:cNvPr id="376" name="Line 7">
                      <a:extLst>
                        <a:ext uri="{FF2B5EF4-FFF2-40B4-BE49-F238E27FC236}">
                          <a16:creationId xmlns:a16="http://schemas.microsoft.com/office/drawing/2014/main" id="{7240F194-8DFA-4C8E-B0B4-4048211AAB4B}"/>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77" name="Line 8">
                      <a:extLst>
                        <a:ext uri="{FF2B5EF4-FFF2-40B4-BE49-F238E27FC236}">
                          <a16:creationId xmlns:a16="http://schemas.microsoft.com/office/drawing/2014/main" id="{AF32DE66-0355-4373-9D2B-47D452FA2EEA}"/>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78" name="Line 9">
                      <a:extLst>
                        <a:ext uri="{FF2B5EF4-FFF2-40B4-BE49-F238E27FC236}">
                          <a16:creationId xmlns:a16="http://schemas.microsoft.com/office/drawing/2014/main" id="{3AA7CC88-8B53-4CD5-92CC-DE4F671654C8}"/>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71" name="Group 370">
                  <a:extLst>
                    <a:ext uri="{FF2B5EF4-FFF2-40B4-BE49-F238E27FC236}">
                      <a16:creationId xmlns:a16="http://schemas.microsoft.com/office/drawing/2014/main" id="{5FC999E9-BC89-43D7-90F0-AB5AE87C9B48}"/>
                    </a:ext>
                  </a:extLst>
                </p:cNvPr>
                <p:cNvGrpSpPr/>
                <p:nvPr/>
              </p:nvGrpSpPr>
              <p:grpSpPr>
                <a:xfrm>
                  <a:off x="8837614" y="3141536"/>
                  <a:ext cx="292100" cy="292100"/>
                  <a:chOff x="9201151" y="3497263"/>
                  <a:chExt cx="292100" cy="292100"/>
                </a:xfrm>
              </p:grpSpPr>
              <p:sp>
                <p:nvSpPr>
                  <p:cNvPr id="372" name="Oval 371">
                    <a:extLst>
                      <a:ext uri="{FF2B5EF4-FFF2-40B4-BE49-F238E27FC236}">
                        <a16:creationId xmlns:a16="http://schemas.microsoft.com/office/drawing/2014/main" id="{41B89AF0-983F-4423-A9EE-3B17A7B285B5}"/>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3" name="Freeform 1018">
                    <a:extLst>
                      <a:ext uri="{FF2B5EF4-FFF2-40B4-BE49-F238E27FC236}">
                        <a16:creationId xmlns:a16="http://schemas.microsoft.com/office/drawing/2014/main" id="{900C3885-24D7-4039-90B8-1D20969A7FA9}"/>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338" name="Group 337">
                <a:extLst>
                  <a:ext uri="{FF2B5EF4-FFF2-40B4-BE49-F238E27FC236}">
                    <a16:creationId xmlns:a16="http://schemas.microsoft.com/office/drawing/2014/main" id="{34F69F15-F32E-492E-8834-E10AB4120DED}"/>
                  </a:ext>
                </a:extLst>
              </p:cNvPr>
              <p:cNvGrpSpPr/>
              <p:nvPr/>
            </p:nvGrpSpPr>
            <p:grpSpPr>
              <a:xfrm>
                <a:off x="6783311" y="4051011"/>
                <a:ext cx="501223" cy="570475"/>
                <a:chOff x="8618441" y="2851722"/>
                <a:chExt cx="511273" cy="581914"/>
              </a:xfrm>
            </p:grpSpPr>
            <p:grpSp>
              <p:nvGrpSpPr>
                <p:cNvPr id="355" name="Group 354">
                  <a:extLst>
                    <a:ext uri="{FF2B5EF4-FFF2-40B4-BE49-F238E27FC236}">
                      <a16:creationId xmlns:a16="http://schemas.microsoft.com/office/drawing/2014/main" id="{3FF9E78F-98FC-4158-948F-0058F2D03ECA}"/>
                    </a:ext>
                  </a:extLst>
                </p:cNvPr>
                <p:cNvGrpSpPr>
                  <a:grpSpLocks noChangeAspect="1"/>
                </p:cNvGrpSpPr>
                <p:nvPr/>
              </p:nvGrpSpPr>
              <p:grpSpPr>
                <a:xfrm>
                  <a:off x="8618441" y="2851722"/>
                  <a:ext cx="365760" cy="435864"/>
                  <a:chOff x="5477764" y="5013499"/>
                  <a:chExt cx="268565" cy="320040"/>
                </a:xfrm>
              </p:grpSpPr>
              <p:grpSp>
                <p:nvGrpSpPr>
                  <p:cNvPr id="359" name="Group 358">
                    <a:extLst>
                      <a:ext uri="{FF2B5EF4-FFF2-40B4-BE49-F238E27FC236}">
                        <a16:creationId xmlns:a16="http://schemas.microsoft.com/office/drawing/2014/main" id="{88C02E50-5C8E-47FF-9D24-EE1A70C28C8B}"/>
                      </a:ext>
                    </a:extLst>
                  </p:cNvPr>
                  <p:cNvGrpSpPr/>
                  <p:nvPr/>
                </p:nvGrpSpPr>
                <p:grpSpPr>
                  <a:xfrm>
                    <a:off x="5477764" y="5013499"/>
                    <a:ext cx="268565" cy="320040"/>
                    <a:chOff x="5477764" y="5010341"/>
                    <a:chExt cx="268565" cy="320040"/>
                  </a:xfrm>
                </p:grpSpPr>
                <p:sp>
                  <p:nvSpPr>
                    <p:cNvPr id="364" name="Freeform 5">
                      <a:extLst>
                        <a:ext uri="{FF2B5EF4-FFF2-40B4-BE49-F238E27FC236}">
                          <a16:creationId xmlns:a16="http://schemas.microsoft.com/office/drawing/2014/main" id="{D97C90B6-78A9-4B4F-B5DD-6BC5C8BE6315}"/>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65" name="Group 364">
                      <a:extLst>
                        <a:ext uri="{FF2B5EF4-FFF2-40B4-BE49-F238E27FC236}">
                          <a16:creationId xmlns:a16="http://schemas.microsoft.com/office/drawing/2014/main" id="{AFC5BB4B-858F-4F7F-8E10-33CBDF8F15EB}"/>
                        </a:ext>
                      </a:extLst>
                    </p:cNvPr>
                    <p:cNvGrpSpPr/>
                    <p:nvPr/>
                  </p:nvGrpSpPr>
                  <p:grpSpPr>
                    <a:xfrm>
                      <a:off x="5518161" y="5046557"/>
                      <a:ext cx="187770" cy="208407"/>
                      <a:chOff x="5513643" y="5046557"/>
                      <a:chExt cx="187770" cy="208407"/>
                    </a:xfrm>
                    <a:solidFill>
                      <a:srgbClr val="0078D3"/>
                    </a:solidFill>
                  </p:grpSpPr>
                  <p:sp>
                    <p:nvSpPr>
                      <p:cNvPr id="366" name="Oval 365">
                        <a:extLst>
                          <a:ext uri="{FF2B5EF4-FFF2-40B4-BE49-F238E27FC236}">
                            <a16:creationId xmlns:a16="http://schemas.microsoft.com/office/drawing/2014/main" id="{90EF83E3-BA27-43DF-9C8C-32FAAEB71D17}"/>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7" name="Oval 366">
                        <a:extLst>
                          <a:ext uri="{FF2B5EF4-FFF2-40B4-BE49-F238E27FC236}">
                            <a16:creationId xmlns:a16="http://schemas.microsoft.com/office/drawing/2014/main" id="{F69DDA38-9803-41C1-B995-9E4D44487E79}"/>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8" name="Oval 367">
                        <a:extLst>
                          <a:ext uri="{FF2B5EF4-FFF2-40B4-BE49-F238E27FC236}">
                            <a16:creationId xmlns:a16="http://schemas.microsoft.com/office/drawing/2014/main" id="{FD4DBCAD-90B4-490A-8DD3-D22819B15A98}"/>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9" name="Oval 368">
                        <a:extLst>
                          <a:ext uri="{FF2B5EF4-FFF2-40B4-BE49-F238E27FC236}">
                            <a16:creationId xmlns:a16="http://schemas.microsoft.com/office/drawing/2014/main" id="{AD889D81-52F5-4082-88B9-5F02789827D4}"/>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60" name="Group 359">
                    <a:extLst>
                      <a:ext uri="{FF2B5EF4-FFF2-40B4-BE49-F238E27FC236}">
                        <a16:creationId xmlns:a16="http://schemas.microsoft.com/office/drawing/2014/main" id="{6800490D-C6D0-4BB8-8FCB-D33B227911D4}"/>
                      </a:ext>
                    </a:extLst>
                  </p:cNvPr>
                  <p:cNvGrpSpPr/>
                  <p:nvPr/>
                </p:nvGrpSpPr>
                <p:grpSpPr>
                  <a:xfrm>
                    <a:off x="5571787" y="5284616"/>
                    <a:ext cx="80519" cy="48923"/>
                    <a:chOff x="5884568" y="5297481"/>
                    <a:chExt cx="80519" cy="48923"/>
                  </a:xfrm>
                </p:grpSpPr>
                <p:sp>
                  <p:nvSpPr>
                    <p:cNvPr id="361" name="Line 7">
                      <a:extLst>
                        <a:ext uri="{FF2B5EF4-FFF2-40B4-BE49-F238E27FC236}">
                          <a16:creationId xmlns:a16="http://schemas.microsoft.com/office/drawing/2014/main" id="{875C3E95-5247-4126-A75E-FFFED1A0EEF6}"/>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62" name="Line 8">
                      <a:extLst>
                        <a:ext uri="{FF2B5EF4-FFF2-40B4-BE49-F238E27FC236}">
                          <a16:creationId xmlns:a16="http://schemas.microsoft.com/office/drawing/2014/main" id="{BF74D9FA-57B2-44E6-A738-D2752679B840}"/>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63" name="Line 9">
                      <a:extLst>
                        <a:ext uri="{FF2B5EF4-FFF2-40B4-BE49-F238E27FC236}">
                          <a16:creationId xmlns:a16="http://schemas.microsoft.com/office/drawing/2014/main" id="{C5CBED23-44E7-480E-BAF0-E880D3F7B056}"/>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56" name="Group 355">
                  <a:extLst>
                    <a:ext uri="{FF2B5EF4-FFF2-40B4-BE49-F238E27FC236}">
                      <a16:creationId xmlns:a16="http://schemas.microsoft.com/office/drawing/2014/main" id="{57D4AC90-3F83-49FE-A1B3-66DE231B2720}"/>
                    </a:ext>
                  </a:extLst>
                </p:cNvPr>
                <p:cNvGrpSpPr/>
                <p:nvPr/>
              </p:nvGrpSpPr>
              <p:grpSpPr>
                <a:xfrm>
                  <a:off x="8837614" y="3141536"/>
                  <a:ext cx="292100" cy="292100"/>
                  <a:chOff x="9201151" y="3497263"/>
                  <a:chExt cx="292100" cy="292100"/>
                </a:xfrm>
              </p:grpSpPr>
              <p:sp>
                <p:nvSpPr>
                  <p:cNvPr id="357" name="Oval 356">
                    <a:extLst>
                      <a:ext uri="{FF2B5EF4-FFF2-40B4-BE49-F238E27FC236}">
                        <a16:creationId xmlns:a16="http://schemas.microsoft.com/office/drawing/2014/main" id="{6AF8D684-7846-4966-B434-688F9CA68A31}"/>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8" name="Freeform 1018">
                    <a:extLst>
                      <a:ext uri="{FF2B5EF4-FFF2-40B4-BE49-F238E27FC236}">
                        <a16:creationId xmlns:a16="http://schemas.microsoft.com/office/drawing/2014/main" id="{750C261F-4AFD-4844-9895-D2D04DF68BAE}"/>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339" name="Group 338">
                <a:extLst>
                  <a:ext uri="{FF2B5EF4-FFF2-40B4-BE49-F238E27FC236}">
                    <a16:creationId xmlns:a16="http://schemas.microsoft.com/office/drawing/2014/main" id="{178B19B7-5DBD-4A94-A0D5-FDC10187B45D}"/>
                  </a:ext>
                </a:extLst>
              </p:cNvPr>
              <p:cNvGrpSpPr/>
              <p:nvPr/>
            </p:nvGrpSpPr>
            <p:grpSpPr>
              <a:xfrm>
                <a:off x="6332609" y="4051011"/>
                <a:ext cx="501223" cy="570475"/>
                <a:chOff x="8618441" y="2851722"/>
                <a:chExt cx="511273" cy="581914"/>
              </a:xfrm>
            </p:grpSpPr>
            <p:grpSp>
              <p:nvGrpSpPr>
                <p:cNvPr id="340" name="Group 339">
                  <a:extLst>
                    <a:ext uri="{FF2B5EF4-FFF2-40B4-BE49-F238E27FC236}">
                      <a16:creationId xmlns:a16="http://schemas.microsoft.com/office/drawing/2014/main" id="{4D9315F5-51FF-4257-8E4F-21DFAB5A462B}"/>
                    </a:ext>
                  </a:extLst>
                </p:cNvPr>
                <p:cNvGrpSpPr>
                  <a:grpSpLocks noChangeAspect="1"/>
                </p:cNvGrpSpPr>
                <p:nvPr/>
              </p:nvGrpSpPr>
              <p:grpSpPr>
                <a:xfrm>
                  <a:off x="8618441" y="2851722"/>
                  <a:ext cx="365760" cy="435864"/>
                  <a:chOff x="5477764" y="5013499"/>
                  <a:chExt cx="268565" cy="320040"/>
                </a:xfrm>
              </p:grpSpPr>
              <p:grpSp>
                <p:nvGrpSpPr>
                  <p:cNvPr id="344" name="Group 343">
                    <a:extLst>
                      <a:ext uri="{FF2B5EF4-FFF2-40B4-BE49-F238E27FC236}">
                        <a16:creationId xmlns:a16="http://schemas.microsoft.com/office/drawing/2014/main" id="{E6F1E5F3-F84E-4912-B741-4D5709E63CDD}"/>
                      </a:ext>
                    </a:extLst>
                  </p:cNvPr>
                  <p:cNvGrpSpPr/>
                  <p:nvPr/>
                </p:nvGrpSpPr>
                <p:grpSpPr>
                  <a:xfrm>
                    <a:off x="5477764" y="5013499"/>
                    <a:ext cx="268565" cy="320040"/>
                    <a:chOff x="5477764" y="5010341"/>
                    <a:chExt cx="268565" cy="320040"/>
                  </a:xfrm>
                </p:grpSpPr>
                <p:sp>
                  <p:nvSpPr>
                    <p:cNvPr id="349" name="Freeform 5">
                      <a:extLst>
                        <a:ext uri="{FF2B5EF4-FFF2-40B4-BE49-F238E27FC236}">
                          <a16:creationId xmlns:a16="http://schemas.microsoft.com/office/drawing/2014/main" id="{39A2A259-F1AB-4558-85C6-7B577D27E7F0}"/>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50" name="Group 349">
                      <a:extLst>
                        <a:ext uri="{FF2B5EF4-FFF2-40B4-BE49-F238E27FC236}">
                          <a16:creationId xmlns:a16="http://schemas.microsoft.com/office/drawing/2014/main" id="{B61DB1A3-660E-434C-B3CF-9B80A99493DB}"/>
                        </a:ext>
                      </a:extLst>
                    </p:cNvPr>
                    <p:cNvGrpSpPr/>
                    <p:nvPr/>
                  </p:nvGrpSpPr>
                  <p:grpSpPr>
                    <a:xfrm>
                      <a:off x="5518161" y="5046557"/>
                      <a:ext cx="187770" cy="208407"/>
                      <a:chOff x="5513643" y="5046557"/>
                      <a:chExt cx="187770" cy="208407"/>
                    </a:xfrm>
                    <a:solidFill>
                      <a:srgbClr val="0078D3"/>
                    </a:solidFill>
                  </p:grpSpPr>
                  <p:sp>
                    <p:nvSpPr>
                      <p:cNvPr id="351" name="Oval 350">
                        <a:extLst>
                          <a:ext uri="{FF2B5EF4-FFF2-40B4-BE49-F238E27FC236}">
                            <a16:creationId xmlns:a16="http://schemas.microsoft.com/office/drawing/2014/main" id="{FBCDC7A0-B4B3-40CA-AB7D-AD1B07A50062}"/>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D3B505B-BDF7-4749-A5B8-E2FAE718FBAC}"/>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63B31C89-4F4E-4839-A657-A7663BAEC7D0}"/>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4" name="Oval 353">
                        <a:extLst>
                          <a:ext uri="{FF2B5EF4-FFF2-40B4-BE49-F238E27FC236}">
                            <a16:creationId xmlns:a16="http://schemas.microsoft.com/office/drawing/2014/main" id="{E1FEE761-A79F-471A-BBAE-ACB120CBECDC}"/>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45" name="Group 344">
                    <a:extLst>
                      <a:ext uri="{FF2B5EF4-FFF2-40B4-BE49-F238E27FC236}">
                        <a16:creationId xmlns:a16="http://schemas.microsoft.com/office/drawing/2014/main" id="{28C1966D-70E9-4AA8-B98C-2A99A2AEDF07}"/>
                      </a:ext>
                    </a:extLst>
                  </p:cNvPr>
                  <p:cNvGrpSpPr/>
                  <p:nvPr/>
                </p:nvGrpSpPr>
                <p:grpSpPr>
                  <a:xfrm>
                    <a:off x="5571787" y="5284616"/>
                    <a:ext cx="80519" cy="48923"/>
                    <a:chOff x="5884568" y="5297481"/>
                    <a:chExt cx="80519" cy="48923"/>
                  </a:xfrm>
                </p:grpSpPr>
                <p:sp>
                  <p:nvSpPr>
                    <p:cNvPr id="346" name="Line 7">
                      <a:extLst>
                        <a:ext uri="{FF2B5EF4-FFF2-40B4-BE49-F238E27FC236}">
                          <a16:creationId xmlns:a16="http://schemas.microsoft.com/office/drawing/2014/main" id="{D035D8DD-60D0-4F27-AF24-4E0C7EA444C4}"/>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47" name="Line 8">
                      <a:extLst>
                        <a:ext uri="{FF2B5EF4-FFF2-40B4-BE49-F238E27FC236}">
                          <a16:creationId xmlns:a16="http://schemas.microsoft.com/office/drawing/2014/main" id="{0A5FE4B0-ABA1-4AB1-863B-A425B10B17DE}"/>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48" name="Line 9">
                      <a:extLst>
                        <a:ext uri="{FF2B5EF4-FFF2-40B4-BE49-F238E27FC236}">
                          <a16:creationId xmlns:a16="http://schemas.microsoft.com/office/drawing/2014/main" id="{8AAE3C15-EB14-4A6D-94CF-8A72365E3816}"/>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41" name="Group 340">
                  <a:extLst>
                    <a:ext uri="{FF2B5EF4-FFF2-40B4-BE49-F238E27FC236}">
                      <a16:creationId xmlns:a16="http://schemas.microsoft.com/office/drawing/2014/main" id="{A44ED680-5986-4EF3-89EA-6BC2C61631BB}"/>
                    </a:ext>
                  </a:extLst>
                </p:cNvPr>
                <p:cNvGrpSpPr/>
                <p:nvPr/>
              </p:nvGrpSpPr>
              <p:grpSpPr>
                <a:xfrm>
                  <a:off x="8837614" y="3141536"/>
                  <a:ext cx="292100" cy="292100"/>
                  <a:chOff x="9201151" y="3497263"/>
                  <a:chExt cx="292100" cy="292100"/>
                </a:xfrm>
              </p:grpSpPr>
              <p:sp>
                <p:nvSpPr>
                  <p:cNvPr id="342" name="Oval 341">
                    <a:extLst>
                      <a:ext uri="{FF2B5EF4-FFF2-40B4-BE49-F238E27FC236}">
                        <a16:creationId xmlns:a16="http://schemas.microsoft.com/office/drawing/2014/main" id="{22CB1CE1-662F-4E7A-B161-FD5B5047BDCB}"/>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Freeform 1018">
                    <a:extLst>
                      <a:ext uri="{FF2B5EF4-FFF2-40B4-BE49-F238E27FC236}">
                        <a16:creationId xmlns:a16="http://schemas.microsoft.com/office/drawing/2014/main" id="{852E433D-8516-4296-B526-5308D173442A}"/>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sp>
          <p:nvSpPr>
            <p:cNvPr id="268" name="TextBox 267">
              <a:extLst>
                <a:ext uri="{FF2B5EF4-FFF2-40B4-BE49-F238E27FC236}">
                  <a16:creationId xmlns:a16="http://schemas.microsoft.com/office/drawing/2014/main" id="{68AC1BF0-94BF-47C5-B151-9700C85321A3}"/>
                </a:ext>
              </a:extLst>
            </p:cNvPr>
            <p:cNvSpPr txBox="1"/>
            <p:nvPr/>
          </p:nvSpPr>
          <p:spPr>
            <a:xfrm>
              <a:off x="4314152" y="5278183"/>
              <a:ext cx="1331271"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Premium SSD</a:t>
              </a:r>
            </a:p>
          </p:txBody>
        </p:sp>
      </p:grpSp>
      <p:grpSp>
        <p:nvGrpSpPr>
          <p:cNvPr id="37" name="Group 36" descr="Ultra Disk">
            <a:extLst>
              <a:ext uri="{FF2B5EF4-FFF2-40B4-BE49-F238E27FC236}">
                <a16:creationId xmlns:a16="http://schemas.microsoft.com/office/drawing/2014/main" id="{8D17E32C-DF9E-452E-BF01-6FFBD749C776}"/>
              </a:ext>
            </a:extLst>
          </p:cNvPr>
          <p:cNvGrpSpPr/>
          <p:nvPr/>
        </p:nvGrpSpPr>
        <p:grpSpPr>
          <a:xfrm>
            <a:off x="6589602" y="4980790"/>
            <a:ext cx="1317183" cy="749071"/>
            <a:chOff x="5694592" y="4791480"/>
            <a:chExt cx="1317183" cy="749071"/>
          </a:xfrm>
        </p:grpSpPr>
        <p:sp>
          <p:nvSpPr>
            <p:cNvPr id="269" name="TextBox 268">
              <a:extLst>
                <a:ext uri="{FF2B5EF4-FFF2-40B4-BE49-F238E27FC236}">
                  <a16:creationId xmlns:a16="http://schemas.microsoft.com/office/drawing/2014/main" id="{CE6575EE-308A-430C-9923-E2EB76950ECE}"/>
                </a:ext>
              </a:extLst>
            </p:cNvPr>
            <p:cNvSpPr txBox="1"/>
            <p:nvPr/>
          </p:nvSpPr>
          <p:spPr>
            <a:xfrm>
              <a:off x="5694592" y="5336282"/>
              <a:ext cx="1317183"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Ultra Disk</a:t>
              </a:r>
            </a:p>
          </p:txBody>
        </p:sp>
        <p:grpSp>
          <p:nvGrpSpPr>
            <p:cNvPr id="270" name="Group 269">
              <a:extLst>
                <a:ext uri="{FF2B5EF4-FFF2-40B4-BE49-F238E27FC236}">
                  <a16:creationId xmlns:a16="http://schemas.microsoft.com/office/drawing/2014/main" id="{344F508C-845B-4DCA-9106-589326869CA2}"/>
                </a:ext>
              </a:extLst>
            </p:cNvPr>
            <p:cNvGrpSpPr/>
            <p:nvPr/>
          </p:nvGrpSpPr>
          <p:grpSpPr>
            <a:xfrm>
              <a:off x="5828745" y="4791480"/>
              <a:ext cx="1101886" cy="448257"/>
              <a:chOff x="8521512" y="4051011"/>
              <a:chExt cx="1402316" cy="570475"/>
            </a:xfrm>
          </p:grpSpPr>
          <p:grpSp>
            <p:nvGrpSpPr>
              <p:cNvPr id="271" name="Group 270">
                <a:extLst>
                  <a:ext uri="{FF2B5EF4-FFF2-40B4-BE49-F238E27FC236}">
                    <a16:creationId xmlns:a16="http://schemas.microsoft.com/office/drawing/2014/main" id="{54EA0353-428F-4F1E-8153-7CF435CE28AA}"/>
                  </a:ext>
                </a:extLst>
              </p:cNvPr>
              <p:cNvGrpSpPr/>
              <p:nvPr/>
            </p:nvGrpSpPr>
            <p:grpSpPr>
              <a:xfrm>
                <a:off x="9422606" y="4051011"/>
                <a:ext cx="501222" cy="570475"/>
                <a:chOff x="9365707" y="2403475"/>
                <a:chExt cx="511272" cy="581914"/>
              </a:xfrm>
            </p:grpSpPr>
            <p:grpSp>
              <p:nvGrpSpPr>
                <p:cNvPr id="308" name="Group 307">
                  <a:extLst>
                    <a:ext uri="{FF2B5EF4-FFF2-40B4-BE49-F238E27FC236}">
                      <a16:creationId xmlns:a16="http://schemas.microsoft.com/office/drawing/2014/main" id="{54845128-874D-4C9A-A886-C0CD1A5BE822}"/>
                    </a:ext>
                  </a:extLst>
                </p:cNvPr>
                <p:cNvGrpSpPr>
                  <a:grpSpLocks noChangeAspect="1"/>
                </p:cNvGrpSpPr>
                <p:nvPr/>
              </p:nvGrpSpPr>
              <p:grpSpPr>
                <a:xfrm>
                  <a:off x="9365707" y="2403475"/>
                  <a:ext cx="365760" cy="435864"/>
                  <a:chOff x="5477764" y="5013499"/>
                  <a:chExt cx="268565" cy="320040"/>
                </a:xfrm>
              </p:grpSpPr>
              <p:grpSp>
                <p:nvGrpSpPr>
                  <p:cNvPr id="314" name="Group 313">
                    <a:extLst>
                      <a:ext uri="{FF2B5EF4-FFF2-40B4-BE49-F238E27FC236}">
                        <a16:creationId xmlns:a16="http://schemas.microsoft.com/office/drawing/2014/main" id="{CC9555DC-1E80-4A72-9A39-B5E541DE2C37}"/>
                      </a:ext>
                    </a:extLst>
                  </p:cNvPr>
                  <p:cNvGrpSpPr/>
                  <p:nvPr/>
                </p:nvGrpSpPr>
                <p:grpSpPr>
                  <a:xfrm>
                    <a:off x="5477764" y="5013499"/>
                    <a:ext cx="268565" cy="320040"/>
                    <a:chOff x="5477764" y="5010341"/>
                    <a:chExt cx="268565" cy="320040"/>
                  </a:xfrm>
                </p:grpSpPr>
                <p:sp>
                  <p:nvSpPr>
                    <p:cNvPr id="319" name="Freeform 5">
                      <a:extLst>
                        <a:ext uri="{FF2B5EF4-FFF2-40B4-BE49-F238E27FC236}">
                          <a16:creationId xmlns:a16="http://schemas.microsoft.com/office/drawing/2014/main" id="{E37CF145-4414-4CBB-AFE5-0A60BA134B06}"/>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20" name="Group 319">
                      <a:extLst>
                        <a:ext uri="{FF2B5EF4-FFF2-40B4-BE49-F238E27FC236}">
                          <a16:creationId xmlns:a16="http://schemas.microsoft.com/office/drawing/2014/main" id="{4022B74A-9D08-435C-B38C-0E5D4AAB2805}"/>
                        </a:ext>
                      </a:extLst>
                    </p:cNvPr>
                    <p:cNvGrpSpPr/>
                    <p:nvPr/>
                  </p:nvGrpSpPr>
                  <p:grpSpPr>
                    <a:xfrm>
                      <a:off x="5518161" y="5046557"/>
                      <a:ext cx="187770" cy="208407"/>
                      <a:chOff x="5513643" y="5046557"/>
                      <a:chExt cx="187770" cy="208407"/>
                    </a:xfrm>
                    <a:solidFill>
                      <a:srgbClr val="0078D3"/>
                    </a:solidFill>
                  </p:grpSpPr>
                  <p:sp>
                    <p:nvSpPr>
                      <p:cNvPr id="321" name="Oval 320">
                        <a:extLst>
                          <a:ext uri="{FF2B5EF4-FFF2-40B4-BE49-F238E27FC236}">
                            <a16:creationId xmlns:a16="http://schemas.microsoft.com/office/drawing/2014/main" id="{C3E0ADC9-504B-41AB-8411-38C515E8E8D1}"/>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2" name="Oval 321">
                        <a:extLst>
                          <a:ext uri="{FF2B5EF4-FFF2-40B4-BE49-F238E27FC236}">
                            <a16:creationId xmlns:a16="http://schemas.microsoft.com/office/drawing/2014/main" id="{BA45C1C3-313D-400E-A005-01E38429367D}"/>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3" name="Oval 322">
                        <a:extLst>
                          <a:ext uri="{FF2B5EF4-FFF2-40B4-BE49-F238E27FC236}">
                            <a16:creationId xmlns:a16="http://schemas.microsoft.com/office/drawing/2014/main" id="{8B75D5F9-4CDC-44DF-BF53-0F11A95417AB}"/>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F2F50CD2-4EB2-481B-9CF3-08E91501663C}"/>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15" name="Group 314">
                    <a:extLst>
                      <a:ext uri="{FF2B5EF4-FFF2-40B4-BE49-F238E27FC236}">
                        <a16:creationId xmlns:a16="http://schemas.microsoft.com/office/drawing/2014/main" id="{2FAE03B2-AF39-4FDA-99E8-74758FEAE723}"/>
                      </a:ext>
                    </a:extLst>
                  </p:cNvPr>
                  <p:cNvGrpSpPr/>
                  <p:nvPr/>
                </p:nvGrpSpPr>
                <p:grpSpPr>
                  <a:xfrm>
                    <a:off x="5571787" y="5284616"/>
                    <a:ext cx="80519" cy="48923"/>
                    <a:chOff x="5884568" y="5297481"/>
                    <a:chExt cx="80519" cy="48923"/>
                  </a:xfrm>
                </p:grpSpPr>
                <p:sp>
                  <p:nvSpPr>
                    <p:cNvPr id="316" name="Line 7">
                      <a:extLst>
                        <a:ext uri="{FF2B5EF4-FFF2-40B4-BE49-F238E27FC236}">
                          <a16:creationId xmlns:a16="http://schemas.microsoft.com/office/drawing/2014/main" id="{81062589-BE56-4833-82B6-573A16C94E49}"/>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17" name="Line 8">
                      <a:extLst>
                        <a:ext uri="{FF2B5EF4-FFF2-40B4-BE49-F238E27FC236}">
                          <a16:creationId xmlns:a16="http://schemas.microsoft.com/office/drawing/2014/main" id="{B73E1B37-82BD-41E7-B6F5-7F400C9503F8}"/>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18" name="Line 9">
                      <a:extLst>
                        <a:ext uri="{FF2B5EF4-FFF2-40B4-BE49-F238E27FC236}">
                          <a16:creationId xmlns:a16="http://schemas.microsoft.com/office/drawing/2014/main" id="{09EA631D-35CE-4984-8BB6-1CCA76F91CA1}"/>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09" name="Group 308">
                  <a:extLst>
                    <a:ext uri="{FF2B5EF4-FFF2-40B4-BE49-F238E27FC236}">
                      <a16:creationId xmlns:a16="http://schemas.microsoft.com/office/drawing/2014/main" id="{797FFB7F-5301-4F06-A97D-08FF35860CF5}"/>
                    </a:ext>
                  </a:extLst>
                </p:cNvPr>
                <p:cNvGrpSpPr/>
                <p:nvPr/>
              </p:nvGrpSpPr>
              <p:grpSpPr>
                <a:xfrm>
                  <a:off x="9483884" y="2693289"/>
                  <a:ext cx="393095" cy="292100"/>
                  <a:chOff x="9483884" y="2693289"/>
                  <a:chExt cx="393095" cy="292100"/>
                </a:xfrm>
              </p:grpSpPr>
              <p:sp>
                <p:nvSpPr>
                  <p:cNvPr id="310" name="Rectangle: Rounded Corners 309">
                    <a:extLst>
                      <a:ext uri="{FF2B5EF4-FFF2-40B4-BE49-F238E27FC236}">
                        <a16:creationId xmlns:a16="http://schemas.microsoft.com/office/drawing/2014/main" id="{290B4B09-4E0F-4C9A-9403-BC1E1D613727}"/>
                      </a:ext>
                    </a:extLst>
                  </p:cNvPr>
                  <p:cNvSpPr/>
                  <p:nvPr/>
                </p:nvSpPr>
                <p:spPr bwMode="auto">
                  <a:xfrm>
                    <a:off x="9483884"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1" name="Group 310">
                    <a:extLst>
                      <a:ext uri="{FF2B5EF4-FFF2-40B4-BE49-F238E27FC236}">
                        <a16:creationId xmlns:a16="http://schemas.microsoft.com/office/drawing/2014/main" id="{00025E76-AC24-4E90-B852-24FE8E67B2AD}"/>
                      </a:ext>
                    </a:extLst>
                  </p:cNvPr>
                  <p:cNvGrpSpPr/>
                  <p:nvPr/>
                </p:nvGrpSpPr>
                <p:grpSpPr>
                  <a:xfrm>
                    <a:off x="9544505" y="2756136"/>
                    <a:ext cx="271853" cy="187577"/>
                    <a:chOff x="9525948" y="2756136"/>
                    <a:chExt cx="271853" cy="187577"/>
                  </a:xfrm>
                </p:grpSpPr>
                <p:sp>
                  <p:nvSpPr>
                    <p:cNvPr id="312" name="Freeform 1018">
                      <a:extLst>
                        <a:ext uri="{FF2B5EF4-FFF2-40B4-BE49-F238E27FC236}">
                          <a16:creationId xmlns:a16="http://schemas.microsoft.com/office/drawing/2014/main" id="{F1EC0F0F-1E0A-445F-92CC-135D462C17D9}"/>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313" name="Freeform 1018">
                      <a:extLst>
                        <a:ext uri="{FF2B5EF4-FFF2-40B4-BE49-F238E27FC236}">
                          <a16:creationId xmlns:a16="http://schemas.microsoft.com/office/drawing/2014/main" id="{5600A861-3845-48F4-9F95-B6E8DED2D3E6}"/>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nvGrpSpPr>
              <p:cNvPr id="272" name="Group 271">
                <a:extLst>
                  <a:ext uri="{FF2B5EF4-FFF2-40B4-BE49-F238E27FC236}">
                    <a16:creationId xmlns:a16="http://schemas.microsoft.com/office/drawing/2014/main" id="{1592F2B9-CAFA-4C32-AA92-0F322E76CDC3}"/>
                  </a:ext>
                </a:extLst>
              </p:cNvPr>
              <p:cNvGrpSpPr/>
              <p:nvPr/>
            </p:nvGrpSpPr>
            <p:grpSpPr>
              <a:xfrm>
                <a:off x="8969726" y="4051011"/>
                <a:ext cx="501222" cy="570475"/>
                <a:chOff x="9365707" y="2403475"/>
                <a:chExt cx="511272" cy="581914"/>
              </a:xfrm>
            </p:grpSpPr>
            <p:grpSp>
              <p:nvGrpSpPr>
                <p:cNvPr id="291" name="Group 290">
                  <a:extLst>
                    <a:ext uri="{FF2B5EF4-FFF2-40B4-BE49-F238E27FC236}">
                      <a16:creationId xmlns:a16="http://schemas.microsoft.com/office/drawing/2014/main" id="{B86074D8-4DC7-4100-8857-E88E1F59142D}"/>
                    </a:ext>
                  </a:extLst>
                </p:cNvPr>
                <p:cNvGrpSpPr>
                  <a:grpSpLocks noChangeAspect="1"/>
                </p:cNvGrpSpPr>
                <p:nvPr/>
              </p:nvGrpSpPr>
              <p:grpSpPr>
                <a:xfrm>
                  <a:off x="9365707" y="2403475"/>
                  <a:ext cx="365760" cy="435864"/>
                  <a:chOff x="5477764" y="5013499"/>
                  <a:chExt cx="268565" cy="320040"/>
                </a:xfrm>
              </p:grpSpPr>
              <p:grpSp>
                <p:nvGrpSpPr>
                  <p:cNvPr id="297" name="Group 296">
                    <a:extLst>
                      <a:ext uri="{FF2B5EF4-FFF2-40B4-BE49-F238E27FC236}">
                        <a16:creationId xmlns:a16="http://schemas.microsoft.com/office/drawing/2014/main" id="{9623312C-5E39-4CE2-AC3B-FBEB9F7C2B3F}"/>
                      </a:ext>
                    </a:extLst>
                  </p:cNvPr>
                  <p:cNvGrpSpPr/>
                  <p:nvPr/>
                </p:nvGrpSpPr>
                <p:grpSpPr>
                  <a:xfrm>
                    <a:off x="5477764" y="5013499"/>
                    <a:ext cx="268565" cy="320040"/>
                    <a:chOff x="5477764" y="5010341"/>
                    <a:chExt cx="268565" cy="320040"/>
                  </a:xfrm>
                </p:grpSpPr>
                <p:sp>
                  <p:nvSpPr>
                    <p:cNvPr id="302" name="Freeform 5">
                      <a:extLst>
                        <a:ext uri="{FF2B5EF4-FFF2-40B4-BE49-F238E27FC236}">
                          <a16:creationId xmlns:a16="http://schemas.microsoft.com/office/drawing/2014/main" id="{D031A6AA-6885-4157-B61E-CA0E49F6012C}"/>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03" name="Group 302">
                      <a:extLst>
                        <a:ext uri="{FF2B5EF4-FFF2-40B4-BE49-F238E27FC236}">
                          <a16:creationId xmlns:a16="http://schemas.microsoft.com/office/drawing/2014/main" id="{F66B81A5-D7F0-44AD-9C90-0C63CC23C90F}"/>
                        </a:ext>
                      </a:extLst>
                    </p:cNvPr>
                    <p:cNvGrpSpPr/>
                    <p:nvPr/>
                  </p:nvGrpSpPr>
                  <p:grpSpPr>
                    <a:xfrm>
                      <a:off x="5518161" y="5046557"/>
                      <a:ext cx="187770" cy="208407"/>
                      <a:chOff x="5513643" y="5046557"/>
                      <a:chExt cx="187770" cy="208407"/>
                    </a:xfrm>
                    <a:solidFill>
                      <a:srgbClr val="0078D3"/>
                    </a:solidFill>
                  </p:grpSpPr>
                  <p:sp>
                    <p:nvSpPr>
                      <p:cNvPr id="304" name="Oval 303">
                        <a:extLst>
                          <a:ext uri="{FF2B5EF4-FFF2-40B4-BE49-F238E27FC236}">
                            <a16:creationId xmlns:a16="http://schemas.microsoft.com/office/drawing/2014/main" id="{2FCE1E5C-DF6F-46C0-BBE9-544414093C92}"/>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Oval 304">
                        <a:extLst>
                          <a:ext uri="{FF2B5EF4-FFF2-40B4-BE49-F238E27FC236}">
                            <a16:creationId xmlns:a16="http://schemas.microsoft.com/office/drawing/2014/main" id="{BCDD23AF-4DB3-4CC6-9064-FEF323020E76}"/>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6" name="Oval 305">
                        <a:extLst>
                          <a:ext uri="{FF2B5EF4-FFF2-40B4-BE49-F238E27FC236}">
                            <a16:creationId xmlns:a16="http://schemas.microsoft.com/office/drawing/2014/main" id="{8C61503F-0C64-4DCB-9CB6-BB837958D454}"/>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Oval 306">
                        <a:extLst>
                          <a:ext uri="{FF2B5EF4-FFF2-40B4-BE49-F238E27FC236}">
                            <a16:creationId xmlns:a16="http://schemas.microsoft.com/office/drawing/2014/main" id="{4B80D50A-5E2D-4C74-B527-710AF2A32C0F}"/>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98" name="Group 297">
                    <a:extLst>
                      <a:ext uri="{FF2B5EF4-FFF2-40B4-BE49-F238E27FC236}">
                        <a16:creationId xmlns:a16="http://schemas.microsoft.com/office/drawing/2014/main" id="{9AB065B7-315B-47B7-B422-8C05B6B29BE9}"/>
                      </a:ext>
                    </a:extLst>
                  </p:cNvPr>
                  <p:cNvGrpSpPr/>
                  <p:nvPr/>
                </p:nvGrpSpPr>
                <p:grpSpPr>
                  <a:xfrm>
                    <a:off x="5571787" y="5284616"/>
                    <a:ext cx="80519" cy="48923"/>
                    <a:chOff x="5884568" y="5297481"/>
                    <a:chExt cx="80519" cy="48923"/>
                  </a:xfrm>
                </p:grpSpPr>
                <p:sp>
                  <p:nvSpPr>
                    <p:cNvPr id="299" name="Line 7">
                      <a:extLst>
                        <a:ext uri="{FF2B5EF4-FFF2-40B4-BE49-F238E27FC236}">
                          <a16:creationId xmlns:a16="http://schemas.microsoft.com/office/drawing/2014/main" id="{6AD35707-597E-41A7-BAF4-2B0EB87E2550}"/>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00" name="Line 8">
                      <a:extLst>
                        <a:ext uri="{FF2B5EF4-FFF2-40B4-BE49-F238E27FC236}">
                          <a16:creationId xmlns:a16="http://schemas.microsoft.com/office/drawing/2014/main" id="{DE7E38A3-D834-49BF-8465-85FCA1FBEB89}"/>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01" name="Line 9">
                      <a:extLst>
                        <a:ext uri="{FF2B5EF4-FFF2-40B4-BE49-F238E27FC236}">
                          <a16:creationId xmlns:a16="http://schemas.microsoft.com/office/drawing/2014/main" id="{A7A4EE81-B333-4147-A130-87B8FB18F9BB}"/>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292" name="Group 291">
                  <a:extLst>
                    <a:ext uri="{FF2B5EF4-FFF2-40B4-BE49-F238E27FC236}">
                      <a16:creationId xmlns:a16="http://schemas.microsoft.com/office/drawing/2014/main" id="{9E1A94CE-FD81-4C52-BBC8-1F34ED22ACDC}"/>
                    </a:ext>
                  </a:extLst>
                </p:cNvPr>
                <p:cNvGrpSpPr/>
                <p:nvPr/>
              </p:nvGrpSpPr>
              <p:grpSpPr>
                <a:xfrm>
                  <a:off x="9483884" y="2693289"/>
                  <a:ext cx="393095" cy="292100"/>
                  <a:chOff x="9483884" y="2693289"/>
                  <a:chExt cx="393095" cy="292100"/>
                </a:xfrm>
              </p:grpSpPr>
              <p:sp>
                <p:nvSpPr>
                  <p:cNvPr id="293" name="Rectangle: Rounded Corners 292">
                    <a:extLst>
                      <a:ext uri="{FF2B5EF4-FFF2-40B4-BE49-F238E27FC236}">
                        <a16:creationId xmlns:a16="http://schemas.microsoft.com/office/drawing/2014/main" id="{9FC70629-B03B-44D3-9C57-98C810A69E37}"/>
                      </a:ext>
                    </a:extLst>
                  </p:cNvPr>
                  <p:cNvSpPr/>
                  <p:nvPr/>
                </p:nvSpPr>
                <p:spPr bwMode="auto">
                  <a:xfrm>
                    <a:off x="9483884"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4" name="Group 293">
                    <a:extLst>
                      <a:ext uri="{FF2B5EF4-FFF2-40B4-BE49-F238E27FC236}">
                        <a16:creationId xmlns:a16="http://schemas.microsoft.com/office/drawing/2014/main" id="{8A3A071E-5D6A-4405-B601-0FBBB2FC3A2E}"/>
                      </a:ext>
                    </a:extLst>
                  </p:cNvPr>
                  <p:cNvGrpSpPr/>
                  <p:nvPr/>
                </p:nvGrpSpPr>
                <p:grpSpPr>
                  <a:xfrm>
                    <a:off x="9544505" y="2756136"/>
                    <a:ext cx="271853" cy="187577"/>
                    <a:chOff x="9525948" y="2756136"/>
                    <a:chExt cx="271853" cy="187577"/>
                  </a:xfrm>
                </p:grpSpPr>
                <p:sp>
                  <p:nvSpPr>
                    <p:cNvPr id="295" name="Freeform 1018">
                      <a:extLst>
                        <a:ext uri="{FF2B5EF4-FFF2-40B4-BE49-F238E27FC236}">
                          <a16:creationId xmlns:a16="http://schemas.microsoft.com/office/drawing/2014/main" id="{9BAA829E-267C-4445-9F74-B28DB19B7BC4}"/>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296" name="Freeform 1018">
                      <a:extLst>
                        <a:ext uri="{FF2B5EF4-FFF2-40B4-BE49-F238E27FC236}">
                          <a16:creationId xmlns:a16="http://schemas.microsoft.com/office/drawing/2014/main" id="{04674E51-E46A-4E93-BAF3-501D7ECF980E}"/>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nvGrpSpPr>
              <p:cNvPr id="273" name="Group 272">
                <a:extLst>
                  <a:ext uri="{FF2B5EF4-FFF2-40B4-BE49-F238E27FC236}">
                    <a16:creationId xmlns:a16="http://schemas.microsoft.com/office/drawing/2014/main" id="{BCFBDC24-7286-4F5E-9EB3-80B5C9A1EE24}"/>
                  </a:ext>
                </a:extLst>
              </p:cNvPr>
              <p:cNvGrpSpPr/>
              <p:nvPr/>
            </p:nvGrpSpPr>
            <p:grpSpPr>
              <a:xfrm>
                <a:off x="8521512" y="4051011"/>
                <a:ext cx="501221" cy="570475"/>
                <a:chOff x="9365707" y="2403475"/>
                <a:chExt cx="511271" cy="581914"/>
              </a:xfrm>
            </p:grpSpPr>
            <p:grpSp>
              <p:nvGrpSpPr>
                <p:cNvPr id="274" name="Group 273">
                  <a:extLst>
                    <a:ext uri="{FF2B5EF4-FFF2-40B4-BE49-F238E27FC236}">
                      <a16:creationId xmlns:a16="http://schemas.microsoft.com/office/drawing/2014/main" id="{02DDA74B-90BB-4AE0-BB76-E5DB61C0CBCC}"/>
                    </a:ext>
                  </a:extLst>
                </p:cNvPr>
                <p:cNvGrpSpPr>
                  <a:grpSpLocks noChangeAspect="1"/>
                </p:cNvGrpSpPr>
                <p:nvPr/>
              </p:nvGrpSpPr>
              <p:grpSpPr>
                <a:xfrm>
                  <a:off x="9365707" y="2403475"/>
                  <a:ext cx="365760" cy="435864"/>
                  <a:chOff x="5477764" y="5013499"/>
                  <a:chExt cx="268565" cy="320040"/>
                </a:xfrm>
              </p:grpSpPr>
              <p:grpSp>
                <p:nvGrpSpPr>
                  <p:cNvPr id="280" name="Group 279">
                    <a:extLst>
                      <a:ext uri="{FF2B5EF4-FFF2-40B4-BE49-F238E27FC236}">
                        <a16:creationId xmlns:a16="http://schemas.microsoft.com/office/drawing/2014/main" id="{F70E8402-4BE9-4DC3-A3EF-138537CE546F}"/>
                      </a:ext>
                    </a:extLst>
                  </p:cNvPr>
                  <p:cNvGrpSpPr/>
                  <p:nvPr/>
                </p:nvGrpSpPr>
                <p:grpSpPr>
                  <a:xfrm>
                    <a:off x="5477764" y="5013499"/>
                    <a:ext cx="268565" cy="320040"/>
                    <a:chOff x="5477764" y="5010341"/>
                    <a:chExt cx="268565" cy="320040"/>
                  </a:xfrm>
                </p:grpSpPr>
                <p:sp>
                  <p:nvSpPr>
                    <p:cNvPr id="285" name="Freeform 5">
                      <a:extLst>
                        <a:ext uri="{FF2B5EF4-FFF2-40B4-BE49-F238E27FC236}">
                          <a16:creationId xmlns:a16="http://schemas.microsoft.com/office/drawing/2014/main" id="{A6D23525-77BA-4AF6-9B3E-70754B149627}"/>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286" name="Group 285">
                      <a:extLst>
                        <a:ext uri="{FF2B5EF4-FFF2-40B4-BE49-F238E27FC236}">
                          <a16:creationId xmlns:a16="http://schemas.microsoft.com/office/drawing/2014/main" id="{30143F44-EEC7-477F-A35F-44273CB973BB}"/>
                        </a:ext>
                      </a:extLst>
                    </p:cNvPr>
                    <p:cNvGrpSpPr/>
                    <p:nvPr/>
                  </p:nvGrpSpPr>
                  <p:grpSpPr>
                    <a:xfrm>
                      <a:off x="5518161" y="5046557"/>
                      <a:ext cx="187770" cy="208407"/>
                      <a:chOff x="5513643" y="5046557"/>
                      <a:chExt cx="187770" cy="208407"/>
                    </a:xfrm>
                    <a:solidFill>
                      <a:srgbClr val="0078D3"/>
                    </a:solidFill>
                  </p:grpSpPr>
                  <p:sp>
                    <p:nvSpPr>
                      <p:cNvPr id="287" name="Oval 286">
                        <a:extLst>
                          <a:ext uri="{FF2B5EF4-FFF2-40B4-BE49-F238E27FC236}">
                            <a16:creationId xmlns:a16="http://schemas.microsoft.com/office/drawing/2014/main" id="{CAF0EF59-93B8-4CFF-B970-ED0402BABFEA}"/>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Oval 287">
                        <a:extLst>
                          <a:ext uri="{FF2B5EF4-FFF2-40B4-BE49-F238E27FC236}">
                            <a16:creationId xmlns:a16="http://schemas.microsoft.com/office/drawing/2014/main" id="{6907DE96-D24C-4A4E-AB4F-D1944728313F}"/>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Oval 288">
                        <a:extLst>
                          <a:ext uri="{FF2B5EF4-FFF2-40B4-BE49-F238E27FC236}">
                            <a16:creationId xmlns:a16="http://schemas.microsoft.com/office/drawing/2014/main" id="{8BC13B39-6E9F-4043-8AC6-22FA3288DDED}"/>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Oval 289">
                        <a:extLst>
                          <a:ext uri="{FF2B5EF4-FFF2-40B4-BE49-F238E27FC236}">
                            <a16:creationId xmlns:a16="http://schemas.microsoft.com/office/drawing/2014/main" id="{87FA9B52-C51F-43B5-8C4B-00A51E895C35}"/>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81" name="Group 280">
                    <a:extLst>
                      <a:ext uri="{FF2B5EF4-FFF2-40B4-BE49-F238E27FC236}">
                        <a16:creationId xmlns:a16="http://schemas.microsoft.com/office/drawing/2014/main" id="{B546E3D4-87E5-44FB-BDFE-87F67BC1866C}"/>
                      </a:ext>
                    </a:extLst>
                  </p:cNvPr>
                  <p:cNvGrpSpPr/>
                  <p:nvPr/>
                </p:nvGrpSpPr>
                <p:grpSpPr>
                  <a:xfrm>
                    <a:off x="5571787" y="5284616"/>
                    <a:ext cx="80519" cy="48923"/>
                    <a:chOff x="5884568" y="5297481"/>
                    <a:chExt cx="80519" cy="48923"/>
                  </a:xfrm>
                </p:grpSpPr>
                <p:sp>
                  <p:nvSpPr>
                    <p:cNvPr id="282" name="Line 7">
                      <a:extLst>
                        <a:ext uri="{FF2B5EF4-FFF2-40B4-BE49-F238E27FC236}">
                          <a16:creationId xmlns:a16="http://schemas.microsoft.com/office/drawing/2014/main" id="{5FC38190-6D19-4596-AED6-96FD3871666A}"/>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283" name="Line 8">
                      <a:extLst>
                        <a:ext uri="{FF2B5EF4-FFF2-40B4-BE49-F238E27FC236}">
                          <a16:creationId xmlns:a16="http://schemas.microsoft.com/office/drawing/2014/main" id="{22560CB4-FCE7-43E8-B504-8DBF2C80D2F7}"/>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284" name="Line 9">
                      <a:extLst>
                        <a:ext uri="{FF2B5EF4-FFF2-40B4-BE49-F238E27FC236}">
                          <a16:creationId xmlns:a16="http://schemas.microsoft.com/office/drawing/2014/main" id="{44B419AF-A570-48F7-B191-FD2B11464F3C}"/>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275" name="Group 274">
                  <a:extLst>
                    <a:ext uri="{FF2B5EF4-FFF2-40B4-BE49-F238E27FC236}">
                      <a16:creationId xmlns:a16="http://schemas.microsoft.com/office/drawing/2014/main" id="{6AC7D5B5-1380-4439-8D4D-F358F25A159D}"/>
                    </a:ext>
                  </a:extLst>
                </p:cNvPr>
                <p:cNvGrpSpPr/>
                <p:nvPr/>
              </p:nvGrpSpPr>
              <p:grpSpPr>
                <a:xfrm>
                  <a:off x="9483883" y="2693289"/>
                  <a:ext cx="393095" cy="292100"/>
                  <a:chOff x="9483883" y="2693289"/>
                  <a:chExt cx="393095" cy="292100"/>
                </a:xfrm>
              </p:grpSpPr>
              <p:sp>
                <p:nvSpPr>
                  <p:cNvPr id="276" name="Rectangle: Rounded Corners 275">
                    <a:extLst>
                      <a:ext uri="{FF2B5EF4-FFF2-40B4-BE49-F238E27FC236}">
                        <a16:creationId xmlns:a16="http://schemas.microsoft.com/office/drawing/2014/main" id="{E69F7FE5-9BD1-4BD8-AE50-6931051278C7}"/>
                      </a:ext>
                    </a:extLst>
                  </p:cNvPr>
                  <p:cNvSpPr/>
                  <p:nvPr/>
                </p:nvSpPr>
                <p:spPr bwMode="auto">
                  <a:xfrm>
                    <a:off x="9483883"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7" name="Group 276">
                    <a:extLst>
                      <a:ext uri="{FF2B5EF4-FFF2-40B4-BE49-F238E27FC236}">
                        <a16:creationId xmlns:a16="http://schemas.microsoft.com/office/drawing/2014/main" id="{39DDB952-CF19-4094-8ACD-C603E822A91A}"/>
                      </a:ext>
                    </a:extLst>
                  </p:cNvPr>
                  <p:cNvGrpSpPr/>
                  <p:nvPr/>
                </p:nvGrpSpPr>
                <p:grpSpPr>
                  <a:xfrm>
                    <a:off x="9544505" y="2756136"/>
                    <a:ext cx="271853" cy="187577"/>
                    <a:chOff x="9525948" y="2756136"/>
                    <a:chExt cx="271853" cy="187577"/>
                  </a:xfrm>
                </p:grpSpPr>
                <p:sp>
                  <p:nvSpPr>
                    <p:cNvPr id="278" name="Freeform 1018">
                      <a:extLst>
                        <a:ext uri="{FF2B5EF4-FFF2-40B4-BE49-F238E27FC236}">
                          <a16:creationId xmlns:a16="http://schemas.microsoft.com/office/drawing/2014/main" id="{04F13CEA-B7A6-41B8-A035-E4AE42D2A915}"/>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279" name="Freeform 1018">
                      <a:extLst>
                        <a:ext uri="{FF2B5EF4-FFF2-40B4-BE49-F238E27FC236}">
                          <a16:creationId xmlns:a16="http://schemas.microsoft.com/office/drawing/2014/main" id="{1F92EC26-7E11-450C-9A7D-C9E9CD7C460B}"/>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grpSp>
      <p:sp>
        <p:nvSpPr>
          <p:cNvPr id="260" name="Rectangle 259">
            <a:extLst>
              <a:ext uri="{FF2B5EF4-FFF2-40B4-BE49-F238E27FC236}">
                <a16:creationId xmlns:a16="http://schemas.microsoft.com/office/drawing/2014/main" id="{1CFF9947-368C-4A0E-9724-5FE873CF0A09}"/>
              </a:ext>
              <a:ext uri="{C183D7F6-B498-43B3-948B-1728B52AA6E4}">
                <adec:decorative xmlns:adec="http://schemas.microsoft.com/office/drawing/2017/decorative" val="1"/>
              </a:ext>
            </a:extLst>
          </p:cNvPr>
          <p:cNvSpPr/>
          <p:nvPr/>
        </p:nvSpPr>
        <p:spPr>
          <a:xfrm>
            <a:off x="584200" y="4726343"/>
            <a:ext cx="8224009" cy="1164380"/>
          </a:xfrm>
          <a:prstGeom prst="rect">
            <a:avLst/>
          </a:prstGeom>
          <a:solidFill>
            <a:schemeClr val="tx1">
              <a:lumMod val="50000"/>
            </a:schemeClr>
          </a:solid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id="{C68A4DEB-A3CB-4FE9-AE4E-A4A0E767A9A5}"/>
              </a:ext>
              <a:ext uri="{C183D7F6-B498-43B3-948B-1728B52AA6E4}">
                <adec:decorative xmlns:adec="http://schemas.microsoft.com/office/drawing/2017/decorative" val="1"/>
              </a:ext>
            </a:extLst>
          </p:cNvPr>
          <p:cNvGrpSpPr>
            <a:grpSpLocks/>
          </p:cNvGrpSpPr>
          <p:nvPr/>
        </p:nvGrpSpPr>
        <p:grpSpPr>
          <a:xfrm>
            <a:off x="7516860" y="1898583"/>
            <a:ext cx="775545" cy="775545"/>
            <a:chOff x="7263210" y="2164792"/>
            <a:chExt cx="875080" cy="849308"/>
          </a:xfrm>
        </p:grpSpPr>
        <p:sp>
          <p:nvSpPr>
            <p:cNvPr id="73" name="Oval 72">
              <a:extLst>
                <a:ext uri="{FF2B5EF4-FFF2-40B4-BE49-F238E27FC236}">
                  <a16:creationId xmlns:a16="http://schemas.microsoft.com/office/drawing/2014/main" id="{034EFFD8-1763-4369-A10C-DA2580A5DB81}"/>
                </a:ext>
              </a:extLst>
            </p:cNvPr>
            <p:cNvSpPr/>
            <p:nvPr/>
          </p:nvSpPr>
          <p:spPr bwMode="auto">
            <a:xfrm>
              <a:off x="7263210" y="2164792"/>
              <a:ext cx="875080" cy="849308"/>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74" name="Group 73">
              <a:extLst>
                <a:ext uri="{FF2B5EF4-FFF2-40B4-BE49-F238E27FC236}">
                  <a16:creationId xmlns:a16="http://schemas.microsoft.com/office/drawing/2014/main" id="{6FED2A86-2FE5-4471-8F10-5D0C4CC55C6F}"/>
                </a:ext>
              </a:extLst>
            </p:cNvPr>
            <p:cNvGrpSpPr/>
            <p:nvPr/>
          </p:nvGrpSpPr>
          <p:grpSpPr>
            <a:xfrm flipH="1">
              <a:off x="7515635" y="2408394"/>
              <a:ext cx="370227" cy="360482"/>
              <a:chOff x="7659708" y="2518196"/>
              <a:chExt cx="370227" cy="360482"/>
            </a:xfrm>
            <a:solidFill>
              <a:schemeClr val="accent3"/>
            </a:solidFill>
          </p:grpSpPr>
          <p:grpSp>
            <p:nvGrpSpPr>
              <p:cNvPr id="75" name="Group 74">
                <a:extLst>
                  <a:ext uri="{FF2B5EF4-FFF2-40B4-BE49-F238E27FC236}">
                    <a16:creationId xmlns:a16="http://schemas.microsoft.com/office/drawing/2014/main" id="{0A73F205-0E6F-45F3-84B1-0D51F36FF468}"/>
                  </a:ext>
                </a:extLst>
              </p:cNvPr>
              <p:cNvGrpSpPr/>
              <p:nvPr/>
            </p:nvGrpSpPr>
            <p:grpSpPr>
              <a:xfrm>
                <a:off x="7659708" y="2518196"/>
                <a:ext cx="370227" cy="91440"/>
                <a:chOff x="7913689" y="2368341"/>
                <a:chExt cx="370227" cy="91440"/>
              </a:xfrm>
              <a:grpFill/>
            </p:grpSpPr>
            <p:sp>
              <p:nvSpPr>
                <p:cNvPr id="90" name="Rectangle 89">
                  <a:extLst>
                    <a:ext uri="{FF2B5EF4-FFF2-40B4-BE49-F238E27FC236}">
                      <a16:creationId xmlns:a16="http://schemas.microsoft.com/office/drawing/2014/main" id="{2E29130A-688D-4902-8B74-E3BF482DAA07}"/>
                    </a:ext>
                  </a:extLst>
                </p:cNvPr>
                <p:cNvSpPr/>
                <p:nvPr/>
              </p:nvSpPr>
              <p:spPr bwMode="auto">
                <a:xfrm>
                  <a:off x="7913689"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2C61C69A-4DC4-48E4-86DD-135305788673}"/>
                    </a:ext>
                  </a:extLst>
                </p:cNvPr>
                <p:cNvSpPr/>
                <p:nvPr/>
              </p:nvSpPr>
              <p:spPr bwMode="auto">
                <a:xfrm>
                  <a:off x="8045431"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EBE900AD-BE85-424C-85D9-099F086FD3A0}"/>
                    </a:ext>
                  </a:extLst>
                </p:cNvPr>
                <p:cNvSpPr/>
                <p:nvPr/>
              </p:nvSpPr>
              <p:spPr bwMode="auto">
                <a:xfrm>
                  <a:off x="8177173"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3" name="Freeform: Shape 92">
                  <a:extLst>
                    <a:ext uri="{FF2B5EF4-FFF2-40B4-BE49-F238E27FC236}">
                      <a16:creationId xmlns:a16="http://schemas.microsoft.com/office/drawing/2014/main" id="{2589D6F2-5433-40B9-AAE2-1966637ACCCB}"/>
                    </a:ext>
                  </a:extLst>
                </p:cNvPr>
                <p:cNvSpPr>
                  <a:spLocks noChangeAspect="1"/>
                </p:cNvSpPr>
                <p:nvPr/>
              </p:nvSpPr>
              <p:spPr bwMode="auto">
                <a:xfrm>
                  <a:off x="7956975"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4" name="Freeform: Shape 93">
                  <a:extLst>
                    <a:ext uri="{FF2B5EF4-FFF2-40B4-BE49-F238E27FC236}">
                      <a16:creationId xmlns:a16="http://schemas.microsoft.com/office/drawing/2014/main" id="{14CBB2B9-B095-4D32-88E3-A5F380B45AD5}"/>
                    </a:ext>
                  </a:extLst>
                </p:cNvPr>
                <p:cNvSpPr>
                  <a:spLocks noChangeAspect="1"/>
                </p:cNvSpPr>
                <p:nvPr/>
              </p:nvSpPr>
              <p:spPr bwMode="auto">
                <a:xfrm>
                  <a:off x="8088718"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5" name="Freeform: Shape 94">
                  <a:extLst>
                    <a:ext uri="{FF2B5EF4-FFF2-40B4-BE49-F238E27FC236}">
                      <a16:creationId xmlns:a16="http://schemas.microsoft.com/office/drawing/2014/main" id="{3DED26DA-1676-44A0-9949-9CEE9E0F70D6}"/>
                    </a:ext>
                  </a:extLst>
                </p:cNvPr>
                <p:cNvSpPr>
                  <a:spLocks noChangeAspect="1"/>
                </p:cNvSpPr>
                <p:nvPr/>
              </p:nvSpPr>
              <p:spPr bwMode="auto">
                <a:xfrm>
                  <a:off x="8220458"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6" name="Group 75">
                <a:extLst>
                  <a:ext uri="{FF2B5EF4-FFF2-40B4-BE49-F238E27FC236}">
                    <a16:creationId xmlns:a16="http://schemas.microsoft.com/office/drawing/2014/main" id="{E19618CB-75CC-4861-9DA3-B14EBE829EB1}"/>
                  </a:ext>
                </a:extLst>
              </p:cNvPr>
              <p:cNvGrpSpPr/>
              <p:nvPr/>
            </p:nvGrpSpPr>
            <p:grpSpPr>
              <a:xfrm flipH="1">
                <a:off x="7659708" y="2652717"/>
                <a:ext cx="370227" cy="91440"/>
                <a:chOff x="7913689" y="2470417"/>
                <a:chExt cx="370227" cy="91440"/>
              </a:xfrm>
              <a:grpFill/>
            </p:grpSpPr>
            <p:sp>
              <p:nvSpPr>
                <p:cNvPr id="84" name="Rectangle 83">
                  <a:extLst>
                    <a:ext uri="{FF2B5EF4-FFF2-40B4-BE49-F238E27FC236}">
                      <a16:creationId xmlns:a16="http://schemas.microsoft.com/office/drawing/2014/main" id="{7AD9AB0F-45F7-4980-8D5B-7431927E3346}"/>
                    </a:ext>
                  </a:extLst>
                </p:cNvPr>
                <p:cNvSpPr/>
                <p:nvPr/>
              </p:nvSpPr>
              <p:spPr bwMode="auto">
                <a:xfrm>
                  <a:off x="7913689"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43364F47-EEA4-4B5E-80A4-5FDFEB522309}"/>
                    </a:ext>
                  </a:extLst>
                </p:cNvPr>
                <p:cNvSpPr/>
                <p:nvPr/>
              </p:nvSpPr>
              <p:spPr bwMode="auto">
                <a:xfrm>
                  <a:off x="8045431"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FEF4FCD7-9138-412F-8214-1EC002F9F725}"/>
                    </a:ext>
                  </a:extLst>
                </p:cNvPr>
                <p:cNvSpPr/>
                <p:nvPr/>
              </p:nvSpPr>
              <p:spPr bwMode="auto">
                <a:xfrm>
                  <a:off x="8177173"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Freeform: Shape 86">
                  <a:extLst>
                    <a:ext uri="{FF2B5EF4-FFF2-40B4-BE49-F238E27FC236}">
                      <a16:creationId xmlns:a16="http://schemas.microsoft.com/office/drawing/2014/main" id="{449AB344-95E0-49D0-977B-271A473353FB}"/>
                    </a:ext>
                  </a:extLst>
                </p:cNvPr>
                <p:cNvSpPr>
                  <a:spLocks noChangeAspect="1"/>
                </p:cNvSpPr>
                <p:nvPr/>
              </p:nvSpPr>
              <p:spPr bwMode="auto">
                <a:xfrm>
                  <a:off x="7956975"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8" name="Freeform: Shape 87">
                  <a:extLst>
                    <a:ext uri="{FF2B5EF4-FFF2-40B4-BE49-F238E27FC236}">
                      <a16:creationId xmlns:a16="http://schemas.microsoft.com/office/drawing/2014/main" id="{C781E179-53A3-4D09-9B3C-1FC55346CA54}"/>
                    </a:ext>
                  </a:extLst>
                </p:cNvPr>
                <p:cNvSpPr>
                  <a:spLocks noChangeAspect="1"/>
                </p:cNvSpPr>
                <p:nvPr/>
              </p:nvSpPr>
              <p:spPr bwMode="auto">
                <a:xfrm>
                  <a:off x="8088717"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9" name="Freeform: Shape 88">
                  <a:extLst>
                    <a:ext uri="{FF2B5EF4-FFF2-40B4-BE49-F238E27FC236}">
                      <a16:creationId xmlns:a16="http://schemas.microsoft.com/office/drawing/2014/main" id="{35BC525B-6FC2-4CAB-8DEA-245A6962DD93}"/>
                    </a:ext>
                  </a:extLst>
                </p:cNvPr>
                <p:cNvSpPr>
                  <a:spLocks noChangeAspect="1"/>
                </p:cNvSpPr>
                <p:nvPr/>
              </p:nvSpPr>
              <p:spPr bwMode="auto">
                <a:xfrm>
                  <a:off x="8220458"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D79F1657-9D25-48C9-9014-9D788EC82ADA}"/>
                  </a:ext>
                </a:extLst>
              </p:cNvPr>
              <p:cNvGrpSpPr/>
              <p:nvPr/>
            </p:nvGrpSpPr>
            <p:grpSpPr>
              <a:xfrm>
                <a:off x="7659708" y="2787238"/>
                <a:ext cx="370227" cy="91440"/>
                <a:chOff x="7913689" y="2637383"/>
                <a:chExt cx="370227" cy="91440"/>
              </a:xfrm>
              <a:grpFill/>
            </p:grpSpPr>
            <p:sp>
              <p:nvSpPr>
                <p:cNvPr id="78" name="Rectangle 77">
                  <a:extLst>
                    <a:ext uri="{FF2B5EF4-FFF2-40B4-BE49-F238E27FC236}">
                      <a16:creationId xmlns:a16="http://schemas.microsoft.com/office/drawing/2014/main" id="{EC25AF85-40EB-4A4D-AAB4-0B6FE652CBB7}"/>
                    </a:ext>
                  </a:extLst>
                </p:cNvPr>
                <p:cNvSpPr/>
                <p:nvPr/>
              </p:nvSpPr>
              <p:spPr bwMode="auto">
                <a:xfrm>
                  <a:off x="7913689"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D9630B28-0F97-4772-A58B-370BE094599F}"/>
                    </a:ext>
                  </a:extLst>
                </p:cNvPr>
                <p:cNvSpPr/>
                <p:nvPr/>
              </p:nvSpPr>
              <p:spPr bwMode="auto">
                <a:xfrm>
                  <a:off x="8045431"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0998DE40-31FC-4906-BFB2-A96C07F92E18}"/>
                    </a:ext>
                  </a:extLst>
                </p:cNvPr>
                <p:cNvSpPr/>
                <p:nvPr/>
              </p:nvSpPr>
              <p:spPr bwMode="auto">
                <a:xfrm>
                  <a:off x="8177173"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Freeform: Shape 80">
                  <a:extLst>
                    <a:ext uri="{FF2B5EF4-FFF2-40B4-BE49-F238E27FC236}">
                      <a16:creationId xmlns:a16="http://schemas.microsoft.com/office/drawing/2014/main" id="{170179F3-0ED7-4E70-93A7-FEB717837D61}"/>
                    </a:ext>
                  </a:extLst>
                </p:cNvPr>
                <p:cNvSpPr>
                  <a:spLocks noChangeAspect="1"/>
                </p:cNvSpPr>
                <p:nvPr/>
              </p:nvSpPr>
              <p:spPr bwMode="auto">
                <a:xfrm>
                  <a:off x="7956975"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2" name="Freeform: Shape 81">
                  <a:extLst>
                    <a:ext uri="{FF2B5EF4-FFF2-40B4-BE49-F238E27FC236}">
                      <a16:creationId xmlns:a16="http://schemas.microsoft.com/office/drawing/2014/main" id="{9A53171E-82CA-412F-B97B-37CE98752037}"/>
                    </a:ext>
                  </a:extLst>
                </p:cNvPr>
                <p:cNvSpPr>
                  <a:spLocks noChangeAspect="1"/>
                </p:cNvSpPr>
                <p:nvPr/>
              </p:nvSpPr>
              <p:spPr bwMode="auto">
                <a:xfrm>
                  <a:off x="8088717"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Freeform: Shape 82">
                  <a:extLst>
                    <a:ext uri="{FF2B5EF4-FFF2-40B4-BE49-F238E27FC236}">
                      <a16:creationId xmlns:a16="http://schemas.microsoft.com/office/drawing/2014/main" id="{1770212E-9153-4060-8292-005A22C8553A}"/>
                    </a:ext>
                  </a:extLst>
                </p:cNvPr>
                <p:cNvSpPr>
                  <a:spLocks noChangeAspect="1"/>
                </p:cNvSpPr>
                <p:nvPr/>
              </p:nvSpPr>
              <p:spPr bwMode="auto">
                <a:xfrm>
                  <a:off x="8220458"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grpSp>
        <p:nvGrpSpPr>
          <p:cNvPr id="5" name="Group 4">
            <a:extLst>
              <a:ext uri="{FF2B5EF4-FFF2-40B4-BE49-F238E27FC236}">
                <a16:creationId xmlns:a16="http://schemas.microsoft.com/office/drawing/2014/main" id="{5486B629-5B04-4325-BD81-4A21188FF4F1}"/>
              </a:ext>
              <a:ext uri="{C183D7F6-B498-43B3-948B-1728B52AA6E4}">
                <adec:decorative xmlns:adec="http://schemas.microsoft.com/office/drawing/2017/decorative" val="1"/>
              </a:ext>
            </a:extLst>
          </p:cNvPr>
          <p:cNvGrpSpPr>
            <a:grpSpLocks/>
          </p:cNvGrpSpPr>
          <p:nvPr/>
        </p:nvGrpSpPr>
        <p:grpSpPr>
          <a:xfrm>
            <a:off x="1059961" y="1898583"/>
            <a:ext cx="775545" cy="775545"/>
            <a:chOff x="656425" y="2154308"/>
            <a:chExt cx="875079" cy="849309"/>
          </a:xfrm>
        </p:grpSpPr>
        <p:sp>
          <p:nvSpPr>
            <p:cNvPr id="45" name="Oval 44">
              <a:extLst>
                <a:ext uri="{FF2B5EF4-FFF2-40B4-BE49-F238E27FC236}">
                  <a16:creationId xmlns:a16="http://schemas.microsoft.com/office/drawing/2014/main" id="{94F8E7FF-FE2C-4B34-822C-FDB12AC0A165}"/>
                </a:ext>
              </a:extLst>
            </p:cNvPr>
            <p:cNvSpPr/>
            <p:nvPr/>
          </p:nvSpPr>
          <p:spPr bwMode="auto">
            <a:xfrm>
              <a:off x="656425" y="2154308"/>
              <a:ext cx="875079" cy="849309"/>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47" name="AutoShape 112">
              <a:extLst>
                <a:ext uri="{FF2B5EF4-FFF2-40B4-BE49-F238E27FC236}">
                  <a16:creationId xmlns:a16="http://schemas.microsoft.com/office/drawing/2014/main" id="{F2202146-0ADC-4D54-96B3-6293F5F061F9}"/>
                </a:ext>
              </a:extLst>
            </p:cNvPr>
            <p:cNvSpPr>
              <a:spLocks noChangeAspect="1" noChangeArrowheads="1" noTextEdit="1"/>
            </p:cNvSpPr>
            <p:nvPr/>
          </p:nvSpPr>
          <p:spPr bwMode="auto">
            <a:xfrm>
              <a:off x="838173" y="2349841"/>
              <a:ext cx="458242" cy="45824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68" name="Group 167">
              <a:extLst>
                <a:ext uri="{FF2B5EF4-FFF2-40B4-BE49-F238E27FC236}">
                  <a16:creationId xmlns:a16="http://schemas.microsoft.com/office/drawing/2014/main" id="{3DE06DCB-AC34-4379-B2E2-98720CC32A8C}"/>
                </a:ext>
              </a:extLst>
            </p:cNvPr>
            <p:cNvGrpSpPr/>
            <p:nvPr/>
          </p:nvGrpSpPr>
          <p:grpSpPr>
            <a:xfrm>
              <a:off x="1033284" y="2475142"/>
              <a:ext cx="150360" cy="152150"/>
              <a:chOff x="1047047" y="2428226"/>
              <a:chExt cx="150360" cy="152150"/>
            </a:xfrm>
          </p:grpSpPr>
          <p:sp>
            <p:nvSpPr>
              <p:cNvPr id="50" name="Freeform 116">
                <a:extLst>
                  <a:ext uri="{FF2B5EF4-FFF2-40B4-BE49-F238E27FC236}">
                    <a16:creationId xmlns:a16="http://schemas.microsoft.com/office/drawing/2014/main" id="{A7B85178-8E4A-4F72-B72E-DD713420B8D1}"/>
                  </a:ext>
                </a:extLst>
              </p:cNvPr>
              <p:cNvSpPr>
                <a:spLocks/>
              </p:cNvSpPr>
              <p:nvPr/>
            </p:nvSpPr>
            <p:spPr bwMode="auto">
              <a:xfrm>
                <a:off x="1047047" y="2433596"/>
                <a:ext cx="51910" cy="69810"/>
              </a:xfrm>
              <a:custGeom>
                <a:avLst/>
                <a:gdLst>
                  <a:gd name="T0" fmla="*/ 0 w 48"/>
                  <a:gd name="T1" fmla="*/ 63 h 63"/>
                  <a:gd name="T2" fmla="*/ 0 w 48"/>
                  <a:gd name="T3" fmla="*/ 63 h 63"/>
                  <a:gd name="T4" fmla="*/ 27 w 48"/>
                  <a:gd name="T5" fmla="*/ 63 h 63"/>
                  <a:gd name="T6" fmla="*/ 48 w 48"/>
                  <a:gd name="T7" fmla="*/ 27 h 63"/>
                  <a:gd name="T8" fmla="*/ 44 w 48"/>
                  <a:gd name="T9" fmla="*/ 0 h 63"/>
                  <a:gd name="T10" fmla="*/ 0 w 48"/>
                  <a:gd name="T11" fmla="*/ 63 h 63"/>
                </a:gdLst>
                <a:ahLst/>
                <a:cxnLst>
                  <a:cxn ang="0">
                    <a:pos x="T0" y="T1"/>
                  </a:cxn>
                  <a:cxn ang="0">
                    <a:pos x="T2" y="T3"/>
                  </a:cxn>
                  <a:cxn ang="0">
                    <a:pos x="T4" y="T5"/>
                  </a:cxn>
                  <a:cxn ang="0">
                    <a:pos x="T6" y="T7"/>
                  </a:cxn>
                  <a:cxn ang="0">
                    <a:pos x="T8" y="T9"/>
                  </a:cxn>
                  <a:cxn ang="0">
                    <a:pos x="T10" y="T11"/>
                  </a:cxn>
                </a:cxnLst>
                <a:rect l="0" t="0" r="r" b="b"/>
                <a:pathLst>
                  <a:path w="48" h="63">
                    <a:moveTo>
                      <a:pt x="0" y="63"/>
                    </a:moveTo>
                    <a:lnTo>
                      <a:pt x="0" y="63"/>
                    </a:lnTo>
                    <a:lnTo>
                      <a:pt x="27" y="63"/>
                    </a:lnTo>
                    <a:cubicBezTo>
                      <a:pt x="27" y="48"/>
                      <a:pt x="36" y="35"/>
                      <a:pt x="48" y="27"/>
                    </a:cubicBezTo>
                    <a:lnTo>
                      <a:pt x="44" y="0"/>
                    </a:lnTo>
                    <a:cubicBezTo>
                      <a:pt x="18" y="10"/>
                      <a:pt x="0" y="35"/>
                      <a:pt x="0" y="6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117">
                <a:extLst>
                  <a:ext uri="{FF2B5EF4-FFF2-40B4-BE49-F238E27FC236}">
                    <a16:creationId xmlns:a16="http://schemas.microsoft.com/office/drawing/2014/main" id="{F3EC81A2-BA94-4C1E-B256-1DF22B5AB789}"/>
                  </a:ext>
                </a:extLst>
              </p:cNvPr>
              <p:cNvSpPr>
                <a:spLocks/>
              </p:cNvSpPr>
              <p:nvPr/>
            </p:nvSpPr>
            <p:spPr bwMode="auto">
              <a:xfrm>
                <a:off x="1107907" y="2487296"/>
                <a:ext cx="30430" cy="30430"/>
              </a:xfrm>
              <a:custGeom>
                <a:avLst/>
                <a:gdLst>
                  <a:gd name="T0" fmla="*/ 27 w 27"/>
                  <a:gd name="T1" fmla="*/ 13 h 27"/>
                  <a:gd name="T2" fmla="*/ 27 w 27"/>
                  <a:gd name="T3" fmla="*/ 13 h 27"/>
                  <a:gd name="T4" fmla="*/ 14 w 27"/>
                  <a:gd name="T5" fmla="*/ 0 h 27"/>
                  <a:gd name="T6" fmla="*/ 0 w 27"/>
                  <a:gd name="T7" fmla="*/ 13 h 27"/>
                  <a:gd name="T8" fmla="*/ 14 w 27"/>
                  <a:gd name="T9" fmla="*/ 27 h 27"/>
                  <a:gd name="T10" fmla="*/ 27 w 27"/>
                  <a:gd name="T11" fmla="*/ 13 h 27"/>
                </a:gdLst>
                <a:ahLst/>
                <a:cxnLst>
                  <a:cxn ang="0">
                    <a:pos x="T0" y="T1"/>
                  </a:cxn>
                  <a:cxn ang="0">
                    <a:pos x="T2" y="T3"/>
                  </a:cxn>
                  <a:cxn ang="0">
                    <a:pos x="T4" y="T5"/>
                  </a:cxn>
                  <a:cxn ang="0">
                    <a:pos x="T6" y="T7"/>
                  </a:cxn>
                  <a:cxn ang="0">
                    <a:pos x="T8" y="T9"/>
                  </a:cxn>
                  <a:cxn ang="0">
                    <a:pos x="T10" y="T11"/>
                  </a:cxn>
                </a:cxnLst>
                <a:rect l="0" t="0" r="r" b="b"/>
                <a:pathLst>
                  <a:path w="27" h="27">
                    <a:moveTo>
                      <a:pt x="27" y="13"/>
                    </a:moveTo>
                    <a:lnTo>
                      <a:pt x="27" y="13"/>
                    </a:lnTo>
                    <a:cubicBezTo>
                      <a:pt x="27" y="6"/>
                      <a:pt x="21" y="0"/>
                      <a:pt x="14" y="0"/>
                    </a:cubicBezTo>
                    <a:cubicBezTo>
                      <a:pt x="6" y="0"/>
                      <a:pt x="0" y="6"/>
                      <a:pt x="0" y="13"/>
                    </a:cubicBezTo>
                    <a:cubicBezTo>
                      <a:pt x="0" y="21"/>
                      <a:pt x="6" y="27"/>
                      <a:pt x="14" y="27"/>
                    </a:cubicBezTo>
                    <a:cubicBezTo>
                      <a:pt x="21" y="27"/>
                      <a:pt x="27" y="21"/>
                      <a:pt x="27" y="1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118">
                <a:extLst>
                  <a:ext uri="{FF2B5EF4-FFF2-40B4-BE49-F238E27FC236}">
                    <a16:creationId xmlns:a16="http://schemas.microsoft.com/office/drawing/2014/main" id="{AAA8E13E-E79C-448B-83E4-83646D976671}"/>
                  </a:ext>
                </a:extLst>
              </p:cNvPr>
              <p:cNvSpPr>
                <a:spLocks/>
              </p:cNvSpPr>
              <p:nvPr/>
            </p:nvSpPr>
            <p:spPr bwMode="auto">
              <a:xfrm>
                <a:off x="1124017" y="2428226"/>
                <a:ext cx="71600" cy="55490"/>
              </a:xfrm>
              <a:custGeom>
                <a:avLst/>
                <a:gdLst>
                  <a:gd name="T0" fmla="*/ 36 w 64"/>
                  <a:gd name="T1" fmla="*/ 50 h 50"/>
                  <a:gd name="T2" fmla="*/ 36 w 64"/>
                  <a:gd name="T3" fmla="*/ 50 h 50"/>
                  <a:gd name="T4" fmla="*/ 64 w 64"/>
                  <a:gd name="T5" fmla="*/ 50 h 50"/>
                  <a:gd name="T6" fmla="*/ 0 w 64"/>
                  <a:gd name="T7" fmla="*/ 0 h 50"/>
                  <a:gd name="T8" fmla="*/ 4 w 64"/>
                  <a:gd name="T9" fmla="*/ 27 h 50"/>
                  <a:gd name="T10" fmla="*/ 36 w 64"/>
                  <a:gd name="T11" fmla="*/ 50 h 50"/>
                </a:gdLst>
                <a:ahLst/>
                <a:cxnLst>
                  <a:cxn ang="0">
                    <a:pos x="T0" y="T1"/>
                  </a:cxn>
                  <a:cxn ang="0">
                    <a:pos x="T2" y="T3"/>
                  </a:cxn>
                  <a:cxn ang="0">
                    <a:pos x="T4" y="T5"/>
                  </a:cxn>
                  <a:cxn ang="0">
                    <a:pos x="T6" y="T7"/>
                  </a:cxn>
                  <a:cxn ang="0">
                    <a:pos x="T8" y="T9"/>
                  </a:cxn>
                  <a:cxn ang="0">
                    <a:pos x="T10" y="T11"/>
                  </a:cxn>
                </a:cxnLst>
                <a:rect l="0" t="0" r="r" b="b"/>
                <a:pathLst>
                  <a:path w="64" h="50">
                    <a:moveTo>
                      <a:pt x="36" y="50"/>
                    </a:moveTo>
                    <a:lnTo>
                      <a:pt x="36" y="50"/>
                    </a:lnTo>
                    <a:lnTo>
                      <a:pt x="64" y="50"/>
                    </a:lnTo>
                    <a:cubicBezTo>
                      <a:pt x="56" y="22"/>
                      <a:pt x="31" y="1"/>
                      <a:pt x="0" y="0"/>
                    </a:cubicBezTo>
                    <a:lnTo>
                      <a:pt x="4" y="27"/>
                    </a:lnTo>
                    <a:cubicBezTo>
                      <a:pt x="18" y="29"/>
                      <a:pt x="30" y="38"/>
                      <a:pt x="36" y="5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119">
                <a:extLst>
                  <a:ext uri="{FF2B5EF4-FFF2-40B4-BE49-F238E27FC236}">
                    <a16:creationId xmlns:a16="http://schemas.microsoft.com/office/drawing/2014/main" id="{64C49AC0-BE72-42FC-8CF7-DA5643FDB66A}"/>
                  </a:ext>
                </a:extLst>
              </p:cNvPr>
              <p:cNvSpPr>
                <a:spLocks/>
              </p:cNvSpPr>
              <p:nvPr/>
            </p:nvSpPr>
            <p:spPr bwMode="auto">
              <a:xfrm>
                <a:off x="1122227" y="2512356"/>
                <a:ext cx="75180" cy="68020"/>
              </a:xfrm>
              <a:custGeom>
                <a:avLst/>
                <a:gdLst>
                  <a:gd name="T0" fmla="*/ 0 w 67"/>
                  <a:gd name="T1" fmla="*/ 33 h 60"/>
                  <a:gd name="T2" fmla="*/ 0 w 67"/>
                  <a:gd name="T3" fmla="*/ 33 h 60"/>
                  <a:gd name="T4" fmla="*/ 0 w 67"/>
                  <a:gd name="T5" fmla="*/ 60 h 60"/>
                  <a:gd name="T6" fmla="*/ 67 w 67"/>
                  <a:gd name="T7" fmla="*/ 0 h 60"/>
                  <a:gd name="T8" fmla="*/ 41 w 67"/>
                  <a:gd name="T9" fmla="*/ 0 h 60"/>
                  <a:gd name="T10" fmla="*/ 0 w 67"/>
                  <a:gd name="T11" fmla="*/ 33 h 60"/>
                </a:gdLst>
                <a:ahLst/>
                <a:cxnLst>
                  <a:cxn ang="0">
                    <a:pos x="T0" y="T1"/>
                  </a:cxn>
                  <a:cxn ang="0">
                    <a:pos x="T2" y="T3"/>
                  </a:cxn>
                  <a:cxn ang="0">
                    <a:pos x="T4" y="T5"/>
                  </a:cxn>
                  <a:cxn ang="0">
                    <a:pos x="T6" y="T7"/>
                  </a:cxn>
                  <a:cxn ang="0">
                    <a:pos x="T8" y="T9"/>
                  </a:cxn>
                  <a:cxn ang="0">
                    <a:pos x="T10" y="T11"/>
                  </a:cxn>
                </a:cxnLst>
                <a:rect l="0" t="0" r="r" b="b"/>
                <a:pathLst>
                  <a:path w="67" h="60">
                    <a:moveTo>
                      <a:pt x="0" y="33"/>
                    </a:moveTo>
                    <a:lnTo>
                      <a:pt x="0" y="33"/>
                    </a:lnTo>
                    <a:lnTo>
                      <a:pt x="0" y="60"/>
                    </a:lnTo>
                    <a:cubicBezTo>
                      <a:pt x="35" y="60"/>
                      <a:pt x="63" y="33"/>
                      <a:pt x="67" y="0"/>
                    </a:cubicBezTo>
                    <a:lnTo>
                      <a:pt x="41" y="0"/>
                    </a:lnTo>
                    <a:cubicBezTo>
                      <a:pt x="37" y="19"/>
                      <a:pt x="20" y="33"/>
                      <a:pt x="0" y="3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67" name="Devices3_EA6C" title="Icon of a cellphone in front of a monitor">
              <a:extLst>
                <a:ext uri="{FF2B5EF4-FFF2-40B4-BE49-F238E27FC236}">
                  <a16:creationId xmlns:a16="http://schemas.microsoft.com/office/drawing/2014/main" id="{069CDA7E-A035-4BC0-AA85-41D62CCF471D}"/>
                </a:ext>
              </a:extLst>
            </p:cNvPr>
            <p:cNvSpPr>
              <a:spLocks noChangeAspect="1" noEditPoints="1"/>
            </p:cNvSpPr>
            <p:nvPr/>
          </p:nvSpPr>
          <p:spPr bwMode="auto">
            <a:xfrm>
              <a:off x="841300" y="2411483"/>
              <a:ext cx="480546" cy="332914"/>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B567AE05-3478-4DB1-8740-517EA423E30F}"/>
              </a:ext>
              <a:ext uri="{C183D7F6-B498-43B3-948B-1728B52AA6E4}">
                <adec:decorative xmlns:adec="http://schemas.microsoft.com/office/drawing/2017/decorative" val="1"/>
              </a:ext>
            </a:extLst>
          </p:cNvPr>
          <p:cNvGrpSpPr>
            <a:grpSpLocks/>
          </p:cNvGrpSpPr>
          <p:nvPr/>
        </p:nvGrpSpPr>
        <p:grpSpPr>
          <a:xfrm>
            <a:off x="2683344" y="1898583"/>
            <a:ext cx="775545" cy="775545"/>
            <a:chOff x="2609680" y="2154880"/>
            <a:chExt cx="875079" cy="849308"/>
          </a:xfrm>
        </p:grpSpPr>
        <p:sp>
          <p:nvSpPr>
            <p:cNvPr id="55" name="Oval 54">
              <a:extLst>
                <a:ext uri="{FF2B5EF4-FFF2-40B4-BE49-F238E27FC236}">
                  <a16:creationId xmlns:a16="http://schemas.microsoft.com/office/drawing/2014/main" id="{5ED9E63C-8E97-4B2A-A2C0-81A6D09FAA21}"/>
                </a:ext>
              </a:extLst>
            </p:cNvPr>
            <p:cNvSpPr/>
            <p:nvPr/>
          </p:nvSpPr>
          <p:spPr bwMode="auto">
            <a:xfrm>
              <a:off x="2609680" y="2154880"/>
              <a:ext cx="875079" cy="849308"/>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73" name="Freeform: Shape 172">
              <a:extLst>
                <a:ext uri="{FF2B5EF4-FFF2-40B4-BE49-F238E27FC236}">
                  <a16:creationId xmlns:a16="http://schemas.microsoft.com/office/drawing/2014/main" id="{B214222B-4141-44E5-A2AF-9005652CAD20}"/>
                </a:ext>
              </a:extLst>
            </p:cNvPr>
            <p:cNvSpPr/>
            <p:nvPr/>
          </p:nvSpPr>
          <p:spPr>
            <a:xfrm>
              <a:off x="2988863" y="2354564"/>
              <a:ext cx="244764" cy="406876"/>
            </a:xfrm>
            <a:custGeom>
              <a:avLst/>
              <a:gdLst>
                <a:gd name="connsiteX0" fmla="*/ 0 w 146685"/>
                <a:gd name="connsiteY0" fmla="*/ 0 h 243839"/>
                <a:gd name="connsiteX1" fmla="*/ 146685 w 146685"/>
                <a:gd name="connsiteY1" fmla="*/ 0 h 243839"/>
                <a:gd name="connsiteX2" fmla="*/ 146685 w 146685"/>
                <a:gd name="connsiteY2" fmla="*/ 243839 h 243839"/>
                <a:gd name="connsiteX3" fmla="*/ 83821 w 146685"/>
                <a:gd name="connsiteY3" fmla="*/ 243839 h 243839"/>
                <a:gd name="connsiteX4" fmla="*/ 83821 w 146685"/>
                <a:gd name="connsiteY4" fmla="*/ 59054 h 243839"/>
                <a:gd name="connsiteX5" fmla="*/ 0 w 146685"/>
                <a:gd name="connsiteY5" fmla="*/ 59054 h 243839"/>
                <a:gd name="connsiteX0" fmla="*/ 83821 w 175261"/>
                <a:gd name="connsiteY0" fmla="*/ 59054 h 243839"/>
                <a:gd name="connsiteX1" fmla="*/ 0 w 175261"/>
                <a:gd name="connsiteY1" fmla="*/ 59054 h 243839"/>
                <a:gd name="connsiteX2" fmla="*/ 0 w 175261"/>
                <a:gd name="connsiteY2" fmla="*/ 0 h 243839"/>
                <a:gd name="connsiteX3" fmla="*/ 146685 w 175261"/>
                <a:gd name="connsiteY3" fmla="*/ 0 h 243839"/>
                <a:gd name="connsiteX4" fmla="*/ 146685 w 175261"/>
                <a:gd name="connsiteY4" fmla="*/ 243839 h 243839"/>
                <a:gd name="connsiteX5" fmla="*/ 83821 w 175261"/>
                <a:gd name="connsiteY5" fmla="*/ 243839 h 243839"/>
                <a:gd name="connsiteX6" fmla="*/ 175261 w 175261"/>
                <a:gd name="connsiteY6" fmla="*/ 150494 h 243839"/>
                <a:gd name="connsiteX0" fmla="*/ 83821 w 146685"/>
                <a:gd name="connsiteY0" fmla="*/ 59054 h 243839"/>
                <a:gd name="connsiteX1" fmla="*/ 0 w 146685"/>
                <a:gd name="connsiteY1" fmla="*/ 59054 h 243839"/>
                <a:gd name="connsiteX2" fmla="*/ 0 w 146685"/>
                <a:gd name="connsiteY2" fmla="*/ 0 h 243839"/>
                <a:gd name="connsiteX3" fmla="*/ 146685 w 146685"/>
                <a:gd name="connsiteY3" fmla="*/ 0 h 243839"/>
                <a:gd name="connsiteX4" fmla="*/ 146685 w 146685"/>
                <a:gd name="connsiteY4" fmla="*/ 243839 h 243839"/>
                <a:gd name="connsiteX5" fmla="*/ 83821 w 146685"/>
                <a:gd name="connsiteY5" fmla="*/ 243839 h 243839"/>
                <a:gd name="connsiteX0" fmla="*/ 0 w 146685"/>
                <a:gd name="connsiteY0" fmla="*/ 59054 h 243839"/>
                <a:gd name="connsiteX1" fmla="*/ 0 w 146685"/>
                <a:gd name="connsiteY1" fmla="*/ 0 h 243839"/>
                <a:gd name="connsiteX2" fmla="*/ 146685 w 146685"/>
                <a:gd name="connsiteY2" fmla="*/ 0 h 243839"/>
                <a:gd name="connsiteX3" fmla="*/ 146685 w 146685"/>
                <a:gd name="connsiteY3" fmla="*/ 243839 h 243839"/>
                <a:gd name="connsiteX4" fmla="*/ 83821 w 146685"/>
                <a:gd name="connsiteY4" fmla="*/ 243839 h 243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685" h="243839">
                  <a:moveTo>
                    <a:pt x="0" y="59054"/>
                  </a:moveTo>
                  <a:lnTo>
                    <a:pt x="0" y="0"/>
                  </a:lnTo>
                  <a:lnTo>
                    <a:pt x="146685" y="0"/>
                  </a:lnTo>
                  <a:lnTo>
                    <a:pt x="146685" y="243839"/>
                  </a:lnTo>
                  <a:lnTo>
                    <a:pt x="83821" y="243839"/>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5" name="Freeform: Shape 174">
              <a:extLst>
                <a:ext uri="{FF2B5EF4-FFF2-40B4-BE49-F238E27FC236}">
                  <a16:creationId xmlns:a16="http://schemas.microsoft.com/office/drawing/2014/main" id="{84CE5CC1-4E9E-4355-B0B5-57A4D3A436A9}"/>
                </a:ext>
              </a:extLst>
            </p:cNvPr>
            <p:cNvSpPr/>
            <p:nvPr/>
          </p:nvSpPr>
          <p:spPr>
            <a:xfrm>
              <a:off x="2912574" y="2453103"/>
              <a:ext cx="216156" cy="308337"/>
            </a:xfrm>
            <a:custGeom>
              <a:avLst/>
              <a:gdLst>
                <a:gd name="connsiteX0" fmla="*/ 0 w 129540"/>
                <a:gd name="connsiteY0" fmla="*/ 0 h 184785"/>
                <a:gd name="connsiteX1" fmla="*/ 129540 w 129540"/>
                <a:gd name="connsiteY1" fmla="*/ 0 h 184785"/>
                <a:gd name="connsiteX2" fmla="*/ 129540 w 129540"/>
                <a:gd name="connsiteY2" fmla="*/ 184785 h 184785"/>
                <a:gd name="connsiteX3" fmla="*/ 81915 w 129540"/>
                <a:gd name="connsiteY3" fmla="*/ 184785 h 184785"/>
                <a:gd name="connsiteX4" fmla="*/ 81915 w 129540"/>
                <a:gd name="connsiteY4" fmla="*/ 55246 h 184785"/>
                <a:gd name="connsiteX5" fmla="*/ 0 w 129540"/>
                <a:gd name="connsiteY5" fmla="*/ 55246 h 184785"/>
                <a:gd name="connsiteX0" fmla="*/ 81915 w 173355"/>
                <a:gd name="connsiteY0" fmla="*/ 55246 h 184785"/>
                <a:gd name="connsiteX1" fmla="*/ 0 w 173355"/>
                <a:gd name="connsiteY1" fmla="*/ 55246 h 184785"/>
                <a:gd name="connsiteX2" fmla="*/ 0 w 173355"/>
                <a:gd name="connsiteY2" fmla="*/ 0 h 184785"/>
                <a:gd name="connsiteX3" fmla="*/ 129540 w 173355"/>
                <a:gd name="connsiteY3" fmla="*/ 0 h 184785"/>
                <a:gd name="connsiteX4" fmla="*/ 129540 w 173355"/>
                <a:gd name="connsiteY4" fmla="*/ 184785 h 184785"/>
                <a:gd name="connsiteX5" fmla="*/ 81915 w 173355"/>
                <a:gd name="connsiteY5" fmla="*/ 184785 h 184785"/>
                <a:gd name="connsiteX6" fmla="*/ 173355 w 173355"/>
                <a:gd name="connsiteY6" fmla="*/ 146686 h 184785"/>
                <a:gd name="connsiteX0" fmla="*/ 81915 w 129540"/>
                <a:gd name="connsiteY0" fmla="*/ 55246 h 184785"/>
                <a:gd name="connsiteX1" fmla="*/ 0 w 129540"/>
                <a:gd name="connsiteY1" fmla="*/ 55246 h 184785"/>
                <a:gd name="connsiteX2" fmla="*/ 0 w 129540"/>
                <a:gd name="connsiteY2" fmla="*/ 0 h 184785"/>
                <a:gd name="connsiteX3" fmla="*/ 129540 w 129540"/>
                <a:gd name="connsiteY3" fmla="*/ 0 h 184785"/>
                <a:gd name="connsiteX4" fmla="*/ 129540 w 129540"/>
                <a:gd name="connsiteY4" fmla="*/ 184785 h 184785"/>
                <a:gd name="connsiteX5" fmla="*/ 81915 w 129540"/>
                <a:gd name="connsiteY5" fmla="*/ 184785 h 184785"/>
                <a:gd name="connsiteX0" fmla="*/ 0 w 129540"/>
                <a:gd name="connsiteY0" fmla="*/ 55246 h 184785"/>
                <a:gd name="connsiteX1" fmla="*/ 0 w 129540"/>
                <a:gd name="connsiteY1" fmla="*/ 0 h 184785"/>
                <a:gd name="connsiteX2" fmla="*/ 129540 w 129540"/>
                <a:gd name="connsiteY2" fmla="*/ 0 h 184785"/>
                <a:gd name="connsiteX3" fmla="*/ 129540 w 129540"/>
                <a:gd name="connsiteY3" fmla="*/ 184785 h 184785"/>
                <a:gd name="connsiteX4" fmla="*/ 81915 w 129540"/>
                <a:gd name="connsiteY4" fmla="*/ 184785 h 18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 h="184785">
                  <a:moveTo>
                    <a:pt x="0" y="55246"/>
                  </a:moveTo>
                  <a:lnTo>
                    <a:pt x="0" y="0"/>
                  </a:lnTo>
                  <a:lnTo>
                    <a:pt x="129540" y="0"/>
                  </a:lnTo>
                  <a:lnTo>
                    <a:pt x="129540" y="184785"/>
                  </a:lnTo>
                  <a:lnTo>
                    <a:pt x="81915" y="18478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6" name="Rectangle 175">
              <a:extLst>
                <a:ext uri="{FF2B5EF4-FFF2-40B4-BE49-F238E27FC236}">
                  <a16:creationId xmlns:a16="http://schemas.microsoft.com/office/drawing/2014/main" id="{0A65372B-DB38-4AF1-B653-F5B82FFEE38D}"/>
                </a:ext>
              </a:extLst>
            </p:cNvPr>
            <p:cNvSpPr/>
            <p:nvPr/>
          </p:nvSpPr>
          <p:spPr>
            <a:xfrm>
              <a:off x="2833105" y="2545288"/>
              <a:ext cx="216156" cy="216154"/>
            </a:xfrm>
            <a:prstGeom prst="rect">
              <a:avLst/>
            </a:pr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6DDD9F4F-7074-4DB8-9E7F-4E05F2787D68}"/>
              </a:ext>
              <a:ext uri="{C183D7F6-B498-43B3-948B-1728B52AA6E4}">
                <adec:decorative xmlns:adec="http://schemas.microsoft.com/office/drawing/2017/decorative" val="1"/>
              </a:ext>
            </a:extLst>
          </p:cNvPr>
          <p:cNvGrpSpPr>
            <a:grpSpLocks/>
          </p:cNvGrpSpPr>
          <p:nvPr/>
        </p:nvGrpSpPr>
        <p:grpSpPr>
          <a:xfrm>
            <a:off x="4282250" y="3307070"/>
            <a:ext cx="775545" cy="775545"/>
            <a:chOff x="5241535" y="4536694"/>
            <a:chExt cx="864768" cy="873970"/>
          </a:xfrm>
        </p:grpSpPr>
        <p:sp>
          <p:nvSpPr>
            <p:cNvPr id="42" name="Oval 41">
              <a:extLst>
                <a:ext uri="{FF2B5EF4-FFF2-40B4-BE49-F238E27FC236}">
                  <a16:creationId xmlns:a16="http://schemas.microsoft.com/office/drawing/2014/main" id="{4B9552FC-26E3-4315-A51F-FA2C03BBEA71}"/>
                </a:ext>
              </a:extLst>
            </p:cNvPr>
            <p:cNvSpPr/>
            <p:nvPr/>
          </p:nvSpPr>
          <p:spPr bwMode="auto">
            <a:xfrm>
              <a:off x="5241535" y="4536694"/>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43" name="Freeform 1018">
              <a:extLst>
                <a:ext uri="{FF2B5EF4-FFF2-40B4-BE49-F238E27FC236}">
                  <a16:creationId xmlns:a16="http://schemas.microsoft.com/office/drawing/2014/main" id="{2AE7A758-0A21-4E0B-825F-1799FCDA1DEA}"/>
                </a:ext>
              </a:extLst>
            </p:cNvPr>
            <p:cNvSpPr>
              <a:spLocks/>
            </p:cNvSpPr>
            <p:nvPr/>
          </p:nvSpPr>
          <p:spPr bwMode="auto">
            <a:xfrm>
              <a:off x="5502871" y="4786557"/>
              <a:ext cx="324031" cy="402626"/>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2">
                  <a:moveTo>
                    <a:pt x="102" y="0"/>
                  </a:moveTo>
                  <a:lnTo>
                    <a:pt x="60" y="0"/>
                  </a:lnTo>
                  <a:lnTo>
                    <a:pt x="13" y="58"/>
                  </a:lnTo>
                  <a:lnTo>
                    <a:pt x="38" y="58"/>
                  </a:lnTo>
                  <a:lnTo>
                    <a:pt x="0" y="102"/>
                  </a:lnTo>
                  <a:lnTo>
                    <a:pt x="9" y="102"/>
                  </a:lnTo>
                  <a:lnTo>
                    <a:pt x="92" y="42"/>
                  </a:lnTo>
                  <a:lnTo>
                    <a:pt x="57" y="42"/>
                  </a:lnTo>
                  <a:lnTo>
                    <a:pt x="102" y="0"/>
                  </a:lnTo>
                  <a:close/>
                </a:path>
              </a:pathLst>
            </a:custGeom>
            <a:noFill/>
            <a:ln w="15875" cap="sq">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768CFEB8-8804-4F77-9588-BF7CB3BE981B}"/>
              </a:ext>
              <a:ext uri="{C183D7F6-B498-43B3-948B-1728B52AA6E4}">
                <adec:decorative xmlns:adec="http://schemas.microsoft.com/office/drawing/2017/decorative" val="1"/>
              </a:ext>
            </a:extLst>
          </p:cNvPr>
          <p:cNvGrpSpPr>
            <a:grpSpLocks/>
          </p:cNvGrpSpPr>
          <p:nvPr/>
        </p:nvGrpSpPr>
        <p:grpSpPr>
          <a:xfrm>
            <a:off x="1059961" y="3290218"/>
            <a:ext cx="775545" cy="775545"/>
            <a:chOff x="656770" y="4599298"/>
            <a:chExt cx="864768" cy="873969"/>
          </a:xfrm>
        </p:grpSpPr>
        <p:sp>
          <p:nvSpPr>
            <p:cNvPr id="17" name="Oval 16">
              <a:extLst>
                <a:ext uri="{FF2B5EF4-FFF2-40B4-BE49-F238E27FC236}">
                  <a16:creationId xmlns:a16="http://schemas.microsoft.com/office/drawing/2014/main" id="{0C09327C-CA98-4C6F-97BC-FD3899959755}"/>
                </a:ext>
              </a:extLst>
            </p:cNvPr>
            <p:cNvSpPr/>
            <p:nvPr/>
          </p:nvSpPr>
          <p:spPr bwMode="auto">
            <a:xfrm>
              <a:off x="656770" y="4599298"/>
              <a:ext cx="864768" cy="873969"/>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79" name="chip" title="Icon of a computer chip">
              <a:extLst>
                <a:ext uri="{FF2B5EF4-FFF2-40B4-BE49-F238E27FC236}">
                  <a16:creationId xmlns:a16="http://schemas.microsoft.com/office/drawing/2014/main" id="{E9CC0061-8174-42A4-902C-CB1EEFB54720}"/>
                </a:ext>
              </a:extLst>
            </p:cNvPr>
            <p:cNvSpPr>
              <a:spLocks noChangeAspect="1" noEditPoints="1"/>
            </p:cNvSpPr>
            <p:nvPr/>
          </p:nvSpPr>
          <p:spPr bwMode="auto">
            <a:xfrm>
              <a:off x="899004" y="4842278"/>
              <a:ext cx="380300" cy="38800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6653B3A6-2B12-4081-B22E-4F21EDF63C71}"/>
              </a:ext>
              <a:ext uri="{C183D7F6-B498-43B3-948B-1728B52AA6E4}">
                <adec:decorative xmlns:adec="http://schemas.microsoft.com/office/drawing/2017/decorative" val="1"/>
              </a:ext>
            </a:extLst>
          </p:cNvPr>
          <p:cNvGrpSpPr>
            <a:grpSpLocks/>
          </p:cNvGrpSpPr>
          <p:nvPr/>
        </p:nvGrpSpPr>
        <p:grpSpPr>
          <a:xfrm>
            <a:off x="5884788" y="3314756"/>
            <a:ext cx="775545" cy="775545"/>
            <a:chOff x="7245112" y="4605067"/>
            <a:chExt cx="864768" cy="873970"/>
          </a:xfrm>
        </p:grpSpPr>
        <p:sp>
          <p:nvSpPr>
            <p:cNvPr id="68" name="Oval 67">
              <a:extLst>
                <a:ext uri="{FF2B5EF4-FFF2-40B4-BE49-F238E27FC236}">
                  <a16:creationId xmlns:a16="http://schemas.microsoft.com/office/drawing/2014/main" id="{4DF20BE8-AE44-47B7-BBC4-C93A8E5BBAA9}"/>
                </a:ext>
              </a:extLst>
            </p:cNvPr>
            <p:cNvSpPr/>
            <p:nvPr/>
          </p:nvSpPr>
          <p:spPr bwMode="auto">
            <a:xfrm>
              <a:off x="7245112" y="4605067"/>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86" name="Database_EFC7" title="Icon of a cylinder">
              <a:extLst>
                <a:ext uri="{FF2B5EF4-FFF2-40B4-BE49-F238E27FC236}">
                  <a16:creationId xmlns:a16="http://schemas.microsoft.com/office/drawing/2014/main" id="{BEE01882-FB30-45CE-A27D-8515C14016C8}"/>
                </a:ext>
              </a:extLst>
            </p:cNvPr>
            <p:cNvSpPr>
              <a:spLocks noChangeAspect="1" noEditPoints="1"/>
            </p:cNvSpPr>
            <p:nvPr/>
          </p:nvSpPr>
          <p:spPr bwMode="auto">
            <a:xfrm>
              <a:off x="7512008" y="4826093"/>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id="{F6137287-E7C1-442C-AFB0-91376C4D0595}"/>
              </a:ext>
              <a:ext uri="{C183D7F6-B498-43B3-948B-1728B52AA6E4}">
                <adec:decorative xmlns:adec="http://schemas.microsoft.com/office/drawing/2017/decorative" val="1"/>
              </a:ext>
            </a:extLst>
          </p:cNvPr>
          <p:cNvGrpSpPr>
            <a:grpSpLocks/>
          </p:cNvGrpSpPr>
          <p:nvPr/>
        </p:nvGrpSpPr>
        <p:grpSpPr>
          <a:xfrm>
            <a:off x="2683344" y="3311712"/>
            <a:ext cx="775545" cy="775545"/>
            <a:chOff x="2593281" y="4507556"/>
            <a:chExt cx="864768" cy="873970"/>
          </a:xfrm>
        </p:grpSpPr>
        <p:sp>
          <p:nvSpPr>
            <p:cNvPr id="33" name="Oval 32">
              <a:extLst>
                <a:ext uri="{FF2B5EF4-FFF2-40B4-BE49-F238E27FC236}">
                  <a16:creationId xmlns:a16="http://schemas.microsoft.com/office/drawing/2014/main" id="{DBAD3150-C5EC-420B-9F13-58AC5BEFE956}"/>
                </a:ext>
              </a:extLst>
            </p:cNvPr>
            <p:cNvSpPr/>
            <p:nvPr/>
          </p:nvSpPr>
          <p:spPr bwMode="auto">
            <a:xfrm>
              <a:off x="2593281" y="4507556"/>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58" name="Trim_video" title="Icon of a video timeline with trim marks">
              <a:extLst>
                <a:ext uri="{FF2B5EF4-FFF2-40B4-BE49-F238E27FC236}">
                  <a16:creationId xmlns:a16="http://schemas.microsoft.com/office/drawing/2014/main" id="{E8257D58-7E47-4611-95F9-5D386DF59280}"/>
                </a:ext>
              </a:extLst>
            </p:cNvPr>
            <p:cNvSpPr>
              <a:spLocks noChangeAspect="1" noEditPoints="1"/>
            </p:cNvSpPr>
            <p:nvPr/>
          </p:nvSpPr>
          <p:spPr bwMode="auto">
            <a:xfrm>
              <a:off x="2753284" y="4703483"/>
              <a:ext cx="460028" cy="365760"/>
            </a:xfrm>
            <a:custGeom>
              <a:avLst/>
              <a:gdLst>
                <a:gd name="T0" fmla="*/ 182 w 244"/>
                <a:gd name="T1" fmla="*/ 95 h 194"/>
                <a:gd name="T2" fmla="*/ 182 w 244"/>
                <a:gd name="T3" fmla="*/ 124 h 194"/>
                <a:gd name="T4" fmla="*/ 63 w 244"/>
                <a:gd name="T5" fmla="*/ 124 h 194"/>
                <a:gd name="T6" fmla="*/ 63 w 244"/>
                <a:gd name="T7" fmla="*/ 69 h 194"/>
                <a:gd name="T8" fmla="*/ 182 w 244"/>
                <a:gd name="T9" fmla="*/ 69 h 194"/>
                <a:gd name="T10" fmla="*/ 182 w 244"/>
                <a:gd name="T11" fmla="*/ 95 h 194"/>
                <a:gd name="T12" fmla="*/ 33 w 244"/>
                <a:gd name="T13" fmla="*/ 129 h 194"/>
                <a:gd name="T14" fmla="*/ 33 w 244"/>
                <a:gd name="T15" fmla="*/ 64 h 194"/>
                <a:gd name="T16" fmla="*/ 0 w 244"/>
                <a:gd name="T17" fmla="*/ 64 h 194"/>
                <a:gd name="T18" fmla="*/ 0 w 244"/>
                <a:gd name="T19" fmla="*/ 129 h 194"/>
                <a:gd name="T20" fmla="*/ 211 w 244"/>
                <a:gd name="T21" fmla="*/ 64 h 194"/>
                <a:gd name="T22" fmla="*/ 211 w 244"/>
                <a:gd name="T23" fmla="*/ 129 h 194"/>
                <a:gd name="T24" fmla="*/ 179 w 244"/>
                <a:gd name="T25" fmla="*/ 32 h 194"/>
                <a:gd name="T26" fmla="*/ 179 w 244"/>
                <a:gd name="T27" fmla="*/ 48 h 194"/>
                <a:gd name="T28" fmla="*/ 179 w 244"/>
                <a:gd name="T29" fmla="*/ 0 h 194"/>
                <a:gd name="T30" fmla="*/ 179 w 244"/>
                <a:gd name="T31" fmla="*/ 16 h 194"/>
                <a:gd name="T32" fmla="*/ 66 w 244"/>
                <a:gd name="T33" fmla="*/ 32 h 194"/>
                <a:gd name="T34" fmla="*/ 66 w 244"/>
                <a:gd name="T35" fmla="*/ 48 h 194"/>
                <a:gd name="T36" fmla="*/ 66 w 244"/>
                <a:gd name="T37" fmla="*/ 0 h 194"/>
                <a:gd name="T38" fmla="*/ 66 w 244"/>
                <a:gd name="T39" fmla="*/ 16 h 194"/>
                <a:gd name="T40" fmla="*/ 179 w 244"/>
                <a:gd name="T41" fmla="*/ 178 h 194"/>
                <a:gd name="T42" fmla="*/ 179 w 244"/>
                <a:gd name="T43" fmla="*/ 194 h 194"/>
                <a:gd name="T44" fmla="*/ 179 w 244"/>
                <a:gd name="T45" fmla="*/ 146 h 194"/>
                <a:gd name="T46" fmla="*/ 179 w 244"/>
                <a:gd name="T47" fmla="*/ 162 h 194"/>
                <a:gd name="T48" fmla="*/ 66 w 244"/>
                <a:gd name="T49" fmla="*/ 178 h 194"/>
                <a:gd name="T50" fmla="*/ 66 w 244"/>
                <a:gd name="T51" fmla="*/ 194 h 194"/>
                <a:gd name="T52" fmla="*/ 66 w 244"/>
                <a:gd name="T53" fmla="*/ 145 h 194"/>
                <a:gd name="T54" fmla="*/ 66 w 244"/>
                <a:gd name="T55" fmla="*/ 161 h 194"/>
                <a:gd name="T56" fmla="*/ 244 w 244"/>
                <a:gd name="T57" fmla="*/ 64 h 194"/>
                <a:gd name="T58" fmla="*/ 244 w 244"/>
                <a:gd name="T59" fmla="*/ 12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4" h="194">
                  <a:moveTo>
                    <a:pt x="182" y="95"/>
                  </a:moveTo>
                  <a:lnTo>
                    <a:pt x="182" y="124"/>
                  </a:lnTo>
                  <a:lnTo>
                    <a:pt x="63" y="124"/>
                  </a:lnTo>
                  <a:lnTo>
                    <a:pt x="63" y="69"/>
                  </a:lnTo>
                  <a:lnTo>
                    <a:pt x="182" y="69"/>
                  </a:lnTo>
                  <a:lnTo>
                    <a:pt x="182" y="95"/>
                  </a:lnTo>
                  <a:moveTo>
                    <a:pt x="33" y="129"/>
                  </a:moveTo>
                  <a:lnTo>
                    <a:pt x="33" y="64"/>
                  </a:lnTo>
                  <a:moveTo>
                    <a:pt x="0" y="64"/>
                  </a:moveTo>
                  <a:lnTo>
                    <a:pt x="0" y="129"/>
                  </a:lnTo>
                  <a:moveTo>
                    <a:pt x="211" y="64"/>
                  </a:moveTo>
                  <a:lnTo>
                    <a:pt x="211" y="129"/>
                  </a:lnTo>
                  <a:moveTo>
                    <a:pt x="179" y="32"/>
                  </a:moveTo>
                  <a:lnTo>
                    <a:pt x="179" y="48"/>
                  </a:lnTo>
                  <a:moveTo>
                    <a:pt x="179" y="0"/>
                  </a:moveTo>
                  <a:lnTo>
                    <a:pt x="179" y="16"/>
                  </a:lnTo>
                  <a:moveTo>
                    <a:pt x="66" y="32"/>
                  </a:moveTo>
                  <a:lnTo>
                    <a:pt x="66" y="48"/>
                  </a:lnTo>
                  <a:moveTo>
                    <a:pt x="66" y="0"/>
                  </a:moveTo>
                  <a:lnTo>
                    <a:pt x="66" y="16"/>
                  </a:lnTo>
                  <a:moveTo>
                    <a:pt x="179" y="178"/>
                  </a:moveTo>
                  <a:lnTo>
                    <a:pt x="179" y="194"/>
                  </a:lnTo>
                  <a:moveTo>
                    <a:pt x="179" y="146"/>
                  </a:moveTo>
                  <a:lnTo>
                    <a:pt x="179" y="162"/>
                  </a:lnTo>
                  <a:moveTo>
                    <a:pt x="66" y="178"/>
                  </a:moveTo>
                  <a:lnTo>
                    <a:pt x="66" y="194"/>
                  </a:lnTo>
                  <a:moveTo>
                    <a:pt x="66" y="145"/>
                  </a:moveTo>
                  <a:lnTo>
                    <a:pt x="66" y="161"/>
                  </a:lnTo>
                  <a:moveTo>
                    <a:pt x="244" y="64"/>
                  </a:moveTo>
                  <a:lnTo>
                    <a:pt x="244" y="129"/>
                  </a:lnTo>
                </a:path>
              </a:pathLst>
            </a:custGeom>
            <a:noFill/>
            <a:ln w="15875" cap="sq">
              <a:solidFill>
                <a:schemeClr val="accent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6" name="Processing_E9F5" title="Icon of two interlocked gears">
              <a:extLst>
                <a:ext uri="{FF2B5EF4-FFF2-40B4-BE49-F238E27FC236}">
                  <a16:creationId xmlns:a16="http://schemas.microsoft.com/office/drawing/2014/main" id="{6D9C2F7F-9D05-45EE-99C4-4CEBBCC66BFF}"/>
                </a:ext>
              </a:extLst>
            </p:cNvPr>
            <p:cNvSpPr>
              <a:spLocks noChangeAspect="1" noEditPoints="1"/>
            </p:cNvSpPr>
            <p:nvPr/>
          </p:nvSpPr>
          <p:spPr bwMode="auto">
            <a:xfrm flipH="1">
              <a:off x="3039618" y="5022887"/>
              <a:ext cx="297246" cy="25888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36" name="Group 35">
            <a:extLst>
              <a:ext uri="{FF2B5EF4-FFF2-40B4-BE49-F238E27FC236}">
                <a16:creationId xmlns:a16="http://schemas.microsoft.com/office/drawing/2014/main" id="{5C0FA56D-5D12-4647-8F18-15E1CDC169E0}"/>
              </a:ext>
              <a:ext uri="{C183D7F6-B498-43B3-948B-1728B52AA6E4}">
                <adec:decorative xmlns:adec="http://schemas.microsoft.com/office/drawing/2017/decorative" val="1"/>
              </a:ext>
            </a:extLst>
          </p:cNvPr>
          <p:cNvGrpSpPr/>
          <p:nvPr/>
        </p:nvGrpSpPr>
        <p:grpSpPr>
          <a:xfrm>
            <a:off x="7516860" y="3285485"/>
            <a:ext cx="775545" cy="775545"/>
            <a:chOff x="6696745" y="3093756"/>
            <a:chExt cx="775545" cy="775545"/>
          </a:xfrm>
        </p:grpSpPr>
        <p:sp>
          <p:nvSpPr>
            <p:cNvPr id="257" name="Oval 256">
              <a:extLst>
                <a:ext uri="{FF2B5EF4-FFF2-40B4-BE49-F238E27FC236}">
                  <a16:creationId xmlns:a16="http://schemas.microsoft.com/office/drawing/2014/main" id="{4F51974F-0D3F-4A19-AA54-4E822BBBA0D2}"/>
                </a:ext>
              </a:extLst>
            </p:cNvPr>
            <p:cNvSpPr/>
            <p:nvPr/>
          </p:nvSpPr>
          <p:spPr bwMode="auto">
            <a:xfrm>
              <a:off x="6696745" y="3093756"/>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pic>
          <p:nvPicPr>
            <p:cNvPr id="58" name="Graphic 57">
              <a:extLst>
                <a:ext uri="{FF2B5EF4-FFF2-40B4-BE49-F238E27FC236}">
                  <a16:creationId xmlns:a16="http://schemas.microsoft.com/office/drawing/2014/main" id="{367C5D8C-F84C-45FA-859D-06184DE2F70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907076" y="3279225"/>
              <a:ext cx="325148" cy="404606"/>
            </a:xfrm>
            <a:prstGeom prst="rect">
              <a:avLst/>
            </a:prstGeom>
          </p:spPr>
        </p:pic>
      </p:grpSp>
      <p:grpSp>
        <p:nvGrpSpPr>
          <p:cNvPr id="34" name="Group 33">
            <a:extLst>
              <a:ext uri="{FF2B5EF4-FFF2-40B4-BE49-F238E27FC236}">
                <a16:creationId xmlns:a16="http://schemas.microsoft.com/office/drawing/2014/main" id="{B4720CAD-934E-408E-8087-033952CBE98D}"/>
              </a:ext>
              <a:ext uri="{C183D7F6-B498-43B3-948B-1728B52AA6E4}">
                <adec:decorative xmlns:adec="http://schemas.microsoft.com/office/drawing/2017/decorative" val="1"/>
              </a:ext>
            </a:extLst>
          </p:cNvPr>
          <p:cNvGrpSpPr/>
          <p:nvPr/>
        </p:nvGrpSpPr>
        <p:grpSpPr>
          <a:xfrm>
            <a:off x="584199" y="1547081"/>
            <a:ext cx="8224010" cy="3066757"/>
            <a:chOff x="584199" y="1547655"/>
            <a:chExt cx="7557969" cy="2826546"/>
          </a:xfrm>
          <a:solidFill>
            <a:schemeClr val="tx1">
              <a:lumMod val="50000"/>
            </a:schemeClr>
          </a:solidFill>
        </p:grpSpPr>
        <p:sp>
          <p:nvSpPr>
            <p:cNvPr id="4" name="Rectangle 3">
              <a:extLst>
                <a:ext uri="{FF2B5EF4-FFF2-40B4-BE49-F238E27FC236}">
                  <a16:creationId xmlns:a16="http://schemas.microsoft.com/office/drawing/2014/main" id="{2FD717F8-5CB3-4C43-87F3-9C5D50DA0654}"/>
                </a:ext>
              </a:extLst>
            </p:cNvPr>
            <p:cNvSpPr/>
            <p:nvPr/>
          </p:nvSpPr>
          <p:spPr>
            <a:xfrm>
              <a:off x="584199" y="1639410"/>
              <a:ext cx="7557969" cy="2734791"/>
            </a:xfrm>
            <a:prstGeom prst="rect">
              <a:avLst/>
            </a:prstGeom>
            <a:grp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843623FF-0535-4E45-99C2-FFB94C9CA7EC}"/>
                </a:ext>
              </a:extLst>
            </p:cNvPr>
            <p:cNvSpPr txBox="1"/>
            <p:nvPr/>
          </p:nvSpPr>
          <p:spPr>
            <a:xfrm>
              <a:off x="3686641" y="1547655"/>
              <a:ext cx="1311720" cy="153181"/>
            </a:xfrm>
            <a:prstGeom prst="rect">
              <a:avLst/>
            </a:prstGeom>
            <a:grpFill/>
          </p:spPr>
          <p:txBody>
            <a:bodyPr wrap="none" lIns="0" tIns="0" rIns="0" bIns="0" rtlCol="0">
              <a:spAutoFit/>
            </a:bodyPr>
            <a:lstStyle/>
            <a:p>
              <a:pPr marL="0" marR="0" lvl="0" indent="0" algn="ctr" defTabSz="896215" rtl="0" eaLnBrk="1" fontAlgn="base" latinLnBrk="0" hangingPunct="1">
                <a:lnSpc>
                  <a:spcPct val="90000"/>
                </a:lnSpc>
                <a:spcBef>
                  <a:spcPct val="0"/>
                </a:spcBef>
                <a:spcAft>
                  <a:spcPts val="588"/>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 MACHINES</a:t>
              </a:r>
            </a:p>
          </p:txBody>
        </p:sp>
      </p:grpSp>
      <p:grpSp>
        <p:nvGrpSpPr>
          <p:cNvPr id="44" name="Group 43" descr="General purpose">
            <a:extLst>
              <a:ext uri="{FF2B5EF4-FFF2-40B4-BE49-F238E27FC236}">
                <a16:creationId xmlns:a16="http://schemas.microsoft.com/office/drawing/2014/main" id="{DB40404D-949B-45BD-A771-20665EF01F5B}"/>
              </a:ext>
            </a:extLst>
          </p:cNvPr>
          <p:cNvGrpSpPr/>
          <p:nvPr/>
        </p:nvGrpSpPr>
        <p:grpSpPr>
          <a:xfrm>
            <a:off x="9418221" y="1529307"/>
            <a:ext cx="1996308" cy="1901891"/>
            <a:chOff x="9422941" y="4012076"/>
            <a:chExt cx="1996308" cy="1901891"/>
          </a:xfrm>
        </p:grpSpPr>
        <p:grpSp>
          <p:nvGrpSpPr>
            <p:cNvPr id="434" name="Group 433">
              <a:extLst>
                <a:ext uri="{FF2B5EF4-FFF2-40B4-BE49-F238E27FC236}">
                  <a16:creationId xmlns:a16="http://schemas.microsoft.com/office/drawing/2014/main" id="{34966302-D2D6-4316-B99A-F196BFB76F3C}"/>
                </a:ext>
              </a:extLst>
            </p:cNvPr>
            <p:cNvGrpSpPr/>
            <p:nvPr/>
          </p:nvGrpSpPr>
          <p:grpSpPr>
            <a:xfrm>
              <a:off x="9422941" y="4012076"/>
              <a:ext cx="1996308" cy="169277"/>
              <a:chOff x="7032197" y="1898368"/>
              <a:chExt cx="3373582" cy="286063"/>
            </a:xfrm>
          </p:grpSpPr>
          <p:sp>
            <p:nvSpPr>
              <p:cNvPr id="442" name="Rectangle 3">
                <a:extLst>
                  <a:ext uri="{FF2B5EF4-FFF2-40B4-BE49-F238E27FC236}">
                    <a16:creationId xmlns:a16="http://schemas.microsoft.com/office/drawing/2014/main" id="{89A3E931-7046-426D-AAFE-E0AEDDA1DACC}"/>
                  </a:ext>
                </a:extLst>
              </p:cNvPr>
              <p:cNvSpPr/>
              <p:nvPr/>
            </p:nvSpPr>
            <p:spPr bwMode="auto">
              <a:xfrm>
                <a:off x="7032197" y="2037486"/>
                <a:ext cx="3373582" cy="101541"/>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443" name="TextBox 442">
                <a:extLst>
                  <a:ext uri="{FF2B5EF4-FFF2-40B4-BE49-F238E27FC236}">
                    <a16:creationId xmlns:a16="http://schemas.microsoft.com/office/drawing/2014/main" id="{937F9A8C-1802-45B6-B7BF-A4C900779A1D}"/>
                  </a:ext>
                </a:extLst>
              </p:cNvPr>
              <p:cNvSpPr txBox="1"/>
              <p:nvPr/>
            </p:nvSpPr>
            <p:spPr>
              <a:xfrm>
                <a:off x="7448991" y="1898368"/>
                <a:ext cx="2539993" cy="286063"/>
              </a:xfrm>
              <a:prstGeom prst="rect">
                <a:avLst/>
              </a:prstGeom>
              <a:solidFill>
                <a:schemeClr val="bg1"/>
              </a:solid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Semibold"/>
                    <a:ea typeface="+mn-ea"/>
                    <a:cs typeface="+mn-cs"/>
                  </a:rPr>
                  <a:t>GENERAL PURPOSE</a:t>
                </a:r>
              </a:p>
            </p:txBody>
          </p:sp>
        </p:grpSp>
        <p:sp>
          <p:nvSpPr>
            <p:cNvPr id="435" name="Rectangle 3">
              <a:extLst>
                <a:ext uri="{FF2B5EF4-FFF2-40B4-BE49-F238E27FC236}">
                  <a16:creationId xmlns:a16="http://schemas.microsoft.com/office/drawing/2014/main" id="{7B01ED0E-A5C6-4C44-A38D-625D34737D12}"/>
                </a:ext>
              </a:extLst>
            </p:cNvPr>
            <p:cNvSpPr/>
            <p:nvPr/>
          </p:nvSpPr>
          <p:spPr bwMode="auto">
            <a:xfrm flipV="1">
              <a:off x="9422941" y="5853880"/>
              <a:ext cx="1996308" cy="60087"/>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grpSp>
      <p:sp>
        <p:nvSpPr>
          <p:cNvPr id="3" name="TextBox 2">
            <a:extLst>
              <a:ext uri="{FF2B5EF4-FFF2-40B4-BE49-F238E27FC236}">
                <a16:creationId xmlns:a16="http://schemas.microsoft.com/office/drawing/2014/main" id="{C1EA88C0-CF52-40C0-9D6E-5C46CE23920C}"/>
              </a:ext>
            </a:extLst>
          </p:cNvPr>
          <p:cNvSpPr txBox="1"/>
          <p:nvPr/>
        </p:nvSpPr>
        <p:spPr>
          <a:xfrm>
            <a:off x="9418221" y="1917341"/>
            <a:ext cx="1996308" cy="11387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indows Server</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QL Server</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ux </a:t>
            </a:r>
          </a:p>
        </p:txBody>
      </p:sp>
      <p:graphicFrame>
        <p:nvGraphicFramePr>
          <p:cNvPr id="421" name="Table 25">
            <a:extLst>
              <a:ext uri="{FF2B5EF4-FFF2-40B4-BE49-F238E27FC236}">
                <a16:creationId xmlns:a16="http://schemas.microsoft.com/office/drawing/2014/main" id="{109C1BAC-AA77-4938-BF71-84BFAAA8311B}"/>
              </a:ext>
            </a:extLst>
          </p:cNvPr>
          <p:cNvGraphicFramePr>
            <a:graphicFrameLocks noGrp="1"/>
          </p:cNvGraphicFramePr>
          <p:nvPr>
            <p:extLst>
              <p:ext uri="{D42A27DB-BD31-4B8C-83A1-F6EECF244321}">
                <p14:modId xmlns:p14="http://schemas.microsoft.com/office/powerpoint/2010/main" val="811387614"/>
              </p:ext>
            </p:extLst>
          </p:nvPr>
        </p:nvGraphicFramePr>
        <p:xfrm>
          <a:off x="667910" y="1624381"/>
          <a:ext cx="8032330" cy="2865120"/>
        </p:xfrm>
        <a:graphic>
          <a:graphicData uri="http://schemas.openxmlformats.org/drawingml/2006/table">
            <a:tbl>
              <a:tblPr firstRow="1">
                <a:tableStyleId>{5C22544A-7EE6-4342-B048-85BDC9FD1C3A}</a:tableStyleId>
              </a:tblPr>
              <a:tblGrid>
                <a:gridCol w="1606466">
                  <a:extLst>
                    <a:ext uri="{9D8B030D-6E8A-4147-A177-3AD203B41FA5}">
                      <a16:colId xmlns:a16="http://schemas.microsoft.com/office/drawing/2014/main" val="3728697909"/>
                    </a:ext>
                  </a:extLst>
                </a:gridCol>
                <a:gridCol w="1606466">
                  <a:extLst>
                    <a:ext uri="{9D8B030D-6E8A-4147-A177-3AD203B41FA5}">
                      <a16:colId xmlns:a16="http://schemas.microsoft.com/office/drawing/2014/main" val="2988424376"/>
                    </a:ext>
                  </a:extLst>
                </a:gridCol>
                <a:gridCol w="1606466">
                  <a:extLst>
                    <a:ext uri="{9D8B030D-6E8A-4147-A177-3AD203B41FA5}">
                      <a16:colId xmlns:a16="http://schemas.microsoft.com/office/drawing/2014/main" val="2059038276"/>
                    </a:ext>
                  </a:extLst>
                </a:gridCol>
                <a:gridCol w="1606466">
                  <a:extLst>
                    <a:ext uri="{9D8B030D-6E8A-4147-A177-3AD203B41FA5}">
                      <a16:colId xmlns:a16="http://schemas.microsoft.com/office/drawing/2014/main" val="591048136"/>
                    </a:ext>
                  </a:extLst>
                </a:gridCol>
                <a:gridCol w="1606466">
                  <a:extLst>
                    <a:ext uri="{9D8B030D-6E8A-4147-A177-3AD203B41FA5}">
                      <a16:colId xmlns:a16="http://schemas.microsoft.com/office/drawing/2014/main" val="3845722155"/>
                    </a:ext>
                  </a:extLst>
                </a:gridCol>
              </a:tblGrid>
              <a:tr h="142155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ENTRY LEVEL</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BURSTABLE</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GENERAL PURPOSE</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CONFIDENTIAL COMPUTING </a:t>
                      </a:r>
                      <a:endParaRPr lang="en-US" sz="800" kern="0" spc="200"/>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COMPUTE </a:t>
                      </a:r>
                      <a:r>
                        <a:rPr lang="en-US" sz="800" kern="0" spc="200">
                          <a:solidFill>
                            <a:schemeClr val="tx1"/>
                          </a:solidFill>
                          <a:cs typeface="Segoe UI Semibold" panose="020B0702040204020203" pitchFamily="34" charset="0"/>
                        </a:rPr>
                        <a:t>INTENSIVE</a:t>
                      </a:r>
                      <a:endParaRPr lang="en-US" sz="800" kern="0" spc="200"/>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7158161"/>
                  </a:ext>
                </a:extLst>
              </a:tr>
              <a:tr h="1421554">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MEMORY  </a:t>
                      </a:r>
                      <a:r>
                        <a:rPr lang="en-US" sz="800" kern="0" spc="200">
                          <a:solidFill>
                            <a:schemeClr val="tx1"/>
                          </a:solidFill>
                          <a:cs typeface="Segoe UI Semibold" panose="020B0702040204020203" pitchFamily="34" charset="0"/>
                        </a:rPr>
                        <a:t>OPTIMIZ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GPU </a:t>
                      </a:r>
                      <a:r>
                        <a:rPr lang="en-US" sz="800" kern="0" spc="200">
                          <a:solidFill>
                            <a:schemeClr val="tx1"/>
                          </a:solidFill>
                          <a:cs typeface="Segoe UI Semibold" panose="020B0702040204020203" pitchFamily="34" charset="0"/>
                        </a:rPr>
                        <a:t>ACCELERAT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HIGH PERFORMANCE COMPUTING </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STORAGE </a:t>
                      </a:r>
                      <a:r>
                        <a:rPr lang="en-US" sz="800" kern="0" spc="200">
                          <a:solidFill>
                            <a:schemeClr val="tx1"/>
                          </a:solidFill>
                          <a:cs typeface="Segoe UI Semibold" panose="020B0702040204020203" pitchFamily="34" charset="0"/>
                        </a:rPr>
                        <a:t>OPTIMIZ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lang="en-US" sz="800" kern="0" spc="200" dirty="0">
                          <a:solidFill>
                            <a:schemeClr val="tx1"/>
                          </a:solidFill>
                          <a:cs typeface="Segoe UI Semibold" panose="020B0702040204020203" pitchFamily="34" charset="0"/>
                        </a:rPr>
                        <a:t>QUANTUM</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8379827"/>
                  </a:ext>
                </a:extLst>
              </a:tr>
            </a:tbl>
          </a:graphicData>
        </a:graphic>
      </p:graphicFrame>
      <p:grpSp>
        <p:nvGrpSpPr>
          <p:cNvPr id="422" name="Group 421">
            <a:extLst>
              <a:ext uri="{FF2B5EF4-FFF2-40B4-BE49-F238E27FC236}">
                <a16:creationId xmlns:a16="http://schemas.microsoft.com/office/drawing/2014/main" id="{9E38AD9D-684B-494F-B118-F437568862B1}"/>
              </a:ext>
              <a:ext uri="{C183D7F6-B498-43B3-948B-1728B52AA6E4}">
                <adec:decorative xmlns:adec="http://schemas.microsoft.com/office/drawing/2017/decorative" val="1"/>
              </a:ext>
            </a:extLst>
          </p:cNvPr>
          <p:cNvGrpSpPr/>
          <p:nvPr/>
        </p:nvGrpSpPr>
        <p:grpSpPr>
          <a:xfrm>
            <a:off x="1373214" y="5082383"/>
            <a:ext cx="1331271" cy="555677"/>
            <a:chOff x="1609010" y="4893073"/>
            <a:chExt cx="1331271" cy="555677"/>
          </a:xfrm>
        </p:grpSpPr>
        <p:grpSp>
          <p:nvGrpSpPr>
            <p:cNvPr id="423" name="Group 422">
              <a:extLst>
                <a:ext uri="{FF2B5EF4-FFF2-40B4-BE49-F238E27FC236}">
                  <a16:creationId xmlns:a16="http://schemas.microsoft.com/office/drawing/2014/main" id="{A365F56C-9F38-4EBB-9EB5-803AB2BCA924}"/>
                </a:ext>
              </a:extLst>
            </p:cNvPr>
            <p:cNvGrpSpPr/>
            <p:nvPr/>
          </p:nvGrpSpPr>
          <p:grpSpPr>
            <a:xfrm>
              <a:off x="1785432" y="4893073"/>
              <a:ext cx="978436" cy="270209"/>
              <a:chOff x="2490292" y="4146639"/>
              <a:chExt cx="1245205" cy="343882"/>
            </a:xfrm>
          </p:grpSpPr>
          <p:grpSp>
            <p:nvGrpSpPr>
              <p:cNvPr id="425" name="Group 424">
                <a:extLst>
                  <a:ext uri="{FF2B5EF4-FFF2-40B4-BE49-F238E27FC236}">
                    <a16:creationId xmlns:a16="http://schemas.microsoft.com/office/drawing/2014/main" id="{F1285703-5935-4E18-8A26-1EA075AE5337}"/>
                  </a:ext>
                </a:extLst>
              </p:cNvPr>
              <p:cNvGrpSpPr/>
              <p:nvPr/>
            </p:nvGrpSpPr>
            <p:grpSpPr>
              <a:xfrm>
                <a:off x="2490292" y="4146639"/>
                <a:ext cx="343800" cy="343882"/>
                <a:chOff x="4354130" y="2075422"/>
                <a:chExt cx="350694" cy="350778"/>
              </a:xfrm>
            </p:grpSpPr>
            <p:sp>
              <p:nvSpPr>
                <p:cNvPr id="436" name="StorageOptical_E958" title="Icon of a hard disk">
                  <a:extLst>
                    <a:ext uri="{FF2B5EF4-FFF2-40B4-BE49-F238E27FC236}">
                      <a16:creationId xmlns:a16="http://schemas.microsoft.com/office/drawing/2014/main" id="{25804EEB-ADE4-48A2-95DE-1671C9B1B88C}"/>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437" name="Straight Connector 436">
                  <a:extLst>
                    <a:ext uri="{FF2B5EF4-FFF2-40B4-BE49-F238E27FC236}">
                      <a16:creationId xmlns:a16="http://schemas.microsoft.com/office/drawing/2014/main" id="{590E4C3F-69AE-41D2-B0BD-CC34BE6E77FF}"/>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438" name="Straight Connector 437">
                  <a:extLst>
                    <a:ext uri="{FF2B5EF4-FFF2-40B4-BE49-F238E27FC236}">
                      <a16:creationId xmlns:a16="http://schemas.microsoft.com/office/drawing/2014/main" id="{A5AC50DE-5379-4FFC-A996-F6779B4A8CFF}"/>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nvGrpSpPr>
              <p:cNvPr id="426" name="Group 425">
                <a:extLst>
                  <a:ext uri="{FF2B5EF4-FFF2-40B4-BE49-F238E27FC236}">
                    <a16:creationId xmlns:a16="http://schemas.microsoft.com/office/drawing/2014/main" id="{25F25561-4977-47D5-A91E-EB84E3DE00C3}"/>
                  </a:ext>
                </a:extLst>
              </p:cNvPr>
              <p:cNvGrpSpPr/>
              <p:nvPr/>
            </p:nvGrpSpPr>
            <p:grpSpPr>
              <a:xfrm>
                <a:off x="2940994" y="4146639"/>
                <a:ext cx="343800" cy="343882"/>
                <a:chOff x="4354130" y="2075422"/>
                <a:chExt cx="350694" cy="350778"/>
              </a:xfrm>
            </p:grpSpPr>
            <p:sp>
              <p:nvSpPr>
                <p:cNvPr id="431" name="StorageOptical_E958" title="Icon of a hard disk">
                  <a:extLst>
                    <a:ext uri="{FF2B5EF4-FFF2-40B4-BE49-F238E27FC236}">
                      <a16:creationId xmlns:a16="http://schemas.microsoft.com/office/drawing/2014/main" id="{4CCF36B6-ADCC-406D-9B41-3EC8FBF91C67}"/>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432" name="Straight Connector 431">
                  <a:extLst>
                    <a:ext uri="{FF2B5EF4-FFF2-40B4-BE49-F238E27FC236}">
                      <a16:creationId xmlns:a16="http://schemas.microsoft.com/office/drawing/2014/main" id="{E5503D42-0FB1-410C-8F44-B35BE25081C1}"/>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433" name="Straight Connector 432">
                  <a:extLst>
                    <a:ext uri="{FF2B5EF4-FFF2-40B4-BE49-F238E27FC236}">
                      <a16:creationId xmlns:a16="http://schemas.microsoft.com/office/drawing/2014/main" id="{3B1586B7-D6EA-463D-813E-3C7AD3882269}"/>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nvGrpSpPr>
              <p:cNvPr id="427" name="Group 426">
                <a:extLst>
                  <a:ext uri="{FF2B5EF4-FFF2-40B4-BE49-F238E27FC236}">
                    <a16:creationId xmlns:a16="http://schemas.microsoft.com/office/drawing/2014/main" id="{D2BCE059-CF96-4419-A865-D675AFBB7098}"/>
                  </a:ext>
                </a:extLst>
              </p:cNvPr>
              <p:cNvGrpSpPr/>
              <p:nvPr/>
            </p:nvGrpSpPr>
            <p:grpSpPr>
              <a:xfrm>
                <a:off x="3391697" y="4146639"/>
                <a:ext cx="343800" cy="343882"/>
                <a:chOff x="4354130" y="2075422"/>
                <a:chExt cx="350694" cy="350778"/>
              </a:xfrm>
            </p:grpSpPr>
            <p:sp>
              <p:nvSpPr>
                <p:cNvPr id="428" name="StorageOptical_E958" title="Icon of a hard disk">
                  <a:extLst>
                    <a:ext uri="{FF2B5EF4-FFF2-40B4-BE49-F238E27FC236}">
                      <a16:creationId xmlns:a16="http://schemas.microsoft.com/office/drawing/2014/main" id="{49CC056D-7ABF-47F8-BD04-46A00294B80B}"/>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429" name="Straight Connector 428">
                  <a:extLst>
                    <a:ext uri="{FF2B5EF4-FFF2-40B4-BE49-F238E27FC236}">
                      <a16:creationId xmlns:a16="http://schemas.microsoft.com/office/drawing/2014/main" id="{89914E8E-1AAC-4EA7-A919-A88A318CFCF6}"/>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430" name="Straight Connector 429">
                  <a:extLst>
                    <a:ext uri="{FF2B5EF4-FFF2-40B4-BE49-F238E27FC236}">
                      <a16:creationId xmlns:a16="http://schemas.microsoft.com/office/drawing/2014/main" id="{1D22A6C5-E738-4692-8A3F-34015F854531}"/>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sp>
          <p:nvSpPr>
            <p:cNvPr id="424" name="TextBox 423">
              <a:extLst>
                <a:ext uri="{FF2B5EF4-FFF2-40B4-BE49-F238E27FC236}">
                  <a16:creationId xmlns:a16="http://schemas.microsoft.com/office/drawing/2014/main" id="{051623B7-4340-455C-AE0F-F3E7E80AB64F}"/>
                </a:ext>
              </a:extLst>
            </p:cNvPr>
            <p:cNvSpPr txBox="1"/>
            <p:nvPr/>
          </p:nvSpPr>
          <p:spPr>
            <a:xfrm>
              <a:off x="1609010" y="5244481"/>
              <a:ext cx="1331271"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tandard HDD</a:t>
              </a:r>
            </a:p>
          </p:txBody>
        </p:sp>
      </p:grpSp>
      <p:grpSp>
        <p:nvGrpSpPr>
          <p:cNvPr id="439" name="Group 438">
            <a:extLst>
              <a:ext uri="{FF2B5EF4-FFF2-40B4-BE49-F238E27FC236}">
                <a16:creationId xmlns:a16="http://schemas.microsoft.com/office/drawing/2014/main" id="{F78B0ECB-110A-4768-9164-B58C892A3455}"/>
              </a:ext>
              <a:ext uri="{C183D7F6-B498-43B3-948B-1728B52AA6E4}">
                <adec:decorative xmlns:adec="http://schemas.microsoft.com/office/drawing/2017/decorative" val="1"/>
              </a:ext>
            </a:extLst>
          </p:cNvPr>
          <p:cNvGrpSpPr/>
          <p:nvPr/>
        </p:nvGrpSpPr>
        <p:grpSpPr>
          <a:xfrm>
            <a:off x="3127888" y="5021361"/>
            <a:ext cx="1310140" cy="610508"/>
            <a:chOff x="3009911" y="4832051"/>
            <a:chExt cx="1310140" cy="610508"/>
          </a:xfrm>
        </p:grpSpPr>
        <p:grpSp>
          <p:nvGrpSpPr>
            <p:cNvPr id="440" name="Group 439">
              <a:extLst>
                <a:ext uri="{FF2B5EF4-FFF2-40B4-BE49-F238E27FC236}">
                  <a16:creationId xmlns:a16="http://schemas.microsoft.com/office/drawing/2014/main" id="{8AD3FCED-20EC-4213-B933-C692C299B9D8}"/>
                </a:ext>
              </a:extLst>
            </p:cNvPr>
            <p:cNvGrpSpPr/>
            <p:nvPr/>
          </p:nvGrpSpPr>
          <p:grpSpPr>
            <a:xfrm>
              <a:off x="3169962" y="4832051"/>
              <a:ext cx="990038" cy="335753"/>
              <a:chOff x="4421965" y="4051011"/>
              <a:chExt cx="1259973" cy="427296"/>
            </a:xfrm>
          </p:grpSpPr>
          <p:grpSp>
            <p:nvGrpSpPr>
              <p:cNvPr id="444" name="Group 443">
                <a:extLst>
                  <a:ext uri="{FF2B5EF4-FFF2-40B4-BE49-F238E27FC236}">
                    <a16:creationId xmlns:a16="http://schemas.microsoft.com/office/drawing/2014/main" id="{E393DAE6-C5ED-4143-89F4-E842E4D4CC6C}"/>
                  </a:ext>
                </a:extLst>
              </p:cNvPr>
              <p:cNvGrpSpPr>
                <a:grpSpLocks noChangeAspect="1"/>
              </p:cNvGrpSpPr>
              <p:nvPr/>
            </p:nvGrpSpPr>
            <p:grpSpPr>
              <a:xfrm>
                <a:off x="4421965" y="4051011"/>
                <a:ext cx="358571" cy="427296"/>
                <a:chOff x="5477750" y="5013499"/>
                <a:chExt cx="268565" cy="320040"/>
              </a:xfrm>
            </p:grpSpPr>
            <p:grpSp>
              <p:nvGrpSpPr>
                <p:cNvPr id="498" name="Group 497">
                  <a:extLst>
                    <a:ext uri="{FF2B5EF4-FFF2-40B4-BE49-F238E27FC236}">
                      <a16:creationId xmlns:a16="http://schemas.microsoft.com/office/drawing/2014/main" id="{F805DC0E-4F90-47BE-8640-8B6E5A26193F}"/>
                    </a:ext>
                  </a:extLst>
                </p:cNvPr>
                <p:cNvGrpSpPr/>
                <p:nvPr/>
              </p:nvGrpSpPr>
              <p:grpSpPr>
                <a:xfrm>
                  <a:off x="5477750" y="5013499"/>
                  <a:ext cx="268565" cy="320040"/>
                  <a:chOff x="5477750" y="5010341"/>
                  <a:chExt cx="268565" cy="320040"/>
                </a:xfrm>
              </p:grpSpPr>
              <p:sp>
                <p:nvSpPr>
                  <p:cNvPr id="503" name="Freeform 5">
                    <a:extLst>
                      <a:ext uri="{FF2B5EF4-FFF2-40B4-BE49-F238E27FC236}">
                        <a16:creationId xmlns:a16="http://schemas.microsoft.com/office/drawing/2014/main" id="{D558D98A-736B-4DA0-B8C4-35942AA07C72}"/>
                      </a:ext>
                    </a:extLst>
                  </p:cNvPr>
                  <p:cNvSpPr>
                    <a:spLocks/>
                  </p:cNvSpPr>
                  <p:nvPr/>
                </p:nvSpPr>
                <p:spPr bwMode="auto">
                  <a:xfrm>
                    <a:off x="5477750"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504" name="Group 503">
                    <a:extLst>
                      <a:ext uri="{FF2B5EF4-FFF2-40B4-BE49-F238E27FC236}">
                        <a16:creationId xmlns:a16="http://schemas.microsoft.com/office/drawing/2014/main" id="{88016F61-936A-4B5A-ABF4-0B44CF449E54}"/>
                      </a:ext>
                    </a:extLst>
                  </p:cNvPr>
                  <p:cNvGrpSpPr/>
                  <p:nvPr/>
                </p:nvGrpSpPr>
                <p:grpSpPr>
                  <a:xfrm>
                    <a:off x="5518161" y="5046557"/>
                    <a:ext cx="187770" cy="208407"/>
                    <a:chOff x="5513643" y="5046557"/>
                    <a:chExt cx="187770" cy="208407"/>
                  </a:xfrm>
                  <a:solidFill>
                    <a:srgbClr val="0078D3"/>
                  </a:solidFill>
                </p:grpSpPr>
                <p:sp>
                  <p:nvSpPr>
                    <p:cNvPr id="505" name="Oval 504">
                      <a:extLst>
                        <a:ext uri="{FF2B5EF4-FFF2-40B4-BE49-F238E27FC236}">
                          <a16:creationId xmlns:a16="http://schemas.microsoft.com/office/drawing/2014/main" id="{DDDFBF94-3D9B-4129-9A74-B18C962FABB0}"/>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67A308DF-387F-4685-BE3D-13D4121F1BAE}"/>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17760095-E79A-49CA-AA3E-92858FA7E49F}"/>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Oval 507">
                      <a:extLst>
                        <a:ext uri="{FF2B5EF4-FFF2-40B4-BE49-F238E27FC236}">
                          <a16:creationId xmlns:a16="http://schemas.microsoft.com/office/drawing/2014/main" id="{2BA1DD9F-5CAC-4D46-90C6-84DF8E24DD88}"/>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99" name="Group 498">
                  <a:extLst>
                    <a:ext uri="{FF2B5EF4-FFF2-40B4-BE49-F238E27FC236}">
                      <a16:creationId xmlns:a16="http://schemas.microsoft.com/office/drawing/2014/main" id="{374AA829-FD0B-43E8-B5A4-80D4D1A9E56B}"/>
                    </a:ext>
                  </a:extLst>
                </p:cNvPr>
                <p:cNvGrpSpPr/>
                <p:nvPr/>
              </p:nvGrpSpPr>
              <p:grpSpPr>
                <a:xfrm>
                  <a:off x="5571787" y="5284616"/>
                  <a:ext cx="80519" cy="48923"/>
                  <a:chOff x="5884568" y="5297481"/>
                  <a:chExt cx="80519" cy="48923"/>
                </a:xfrm>
              </p:grpSpPr>
              <p:sp>
                <p:nvSpPr>
                  <p:cNvPr id="500" name="Line 7">
                    <a:extLst>
                      <a:ext uri="{FF2B5EF4-FFF2-40B4-BE49-F238E27FC236}">
                        <a16:creationId xmlns:a16="http://schemas.microsoft.com/office/drawing/2014/main" id="{D63AC347-CF07-4477-A453-27EA040541BE}"/>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501" name="Line 8">
                    <a:extLst>
                      <a:ext uri="{FF2B5EF4-FFF2-40B4-BE49-F238E27FC236}">
                        <a16:creationId xmlns:a16="http://schemas.microsoft.com/office/drawing/2014/main" id="{A7243DF5-6B53-4621-A49C-972947BD0649}"/>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502" name="Line 9">
                    <a:extLst>
                      <a:ext uri="{FF2B5EF4-FFF2-40B4-BE49-F238E27FC236}">
                        <a16:creationId xmlns:a16="http://schemas.microsoft.com/office/drawing/2014/main" id="{F7AA8DB1-D305-474E-A89E-D28630164E48}"/>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474" name="Group 473">
                <a:extLst>
                  <a:ext uri="{FF2B5EF4-FFF2-40B4-BE49-F238E27FC236}">
                    <a16:creationId xmlns:a16="http://schemas.microsoft.com/office/drawing/2014/main" id="{3D8DB069-AB1F-42D3-B763-50EA4E0EEE7E}"/>
                  </a:ext>
                </a:extLst>
              </p:cNvPr>
              <p:cNvGrpSpPr>
                <a:grpSpLocks noChangeAspect="1"/>
              </p:cNvGrpSpPr>
              <p:nvPr/>
            </p:nvGrpSpPr>
            <p:grpSpPr>
              <a:xfrm>
                <a:off x="4872665" y="4051011"/>
                <a:ext cx="358569" cy="427296"/>
                <a:chOff x="5477779" y="5013499"/>
                <a:chExt cx="268565" cy="320040"/>
              </a:xfrm>
            </p:grpSpPr>
            <p:grpSp>
              <p:nvGrpSpPr>
                <p:cNvPr id="487" name="Group 486">
                  <a:extLst>
                    <a:ext uri="{FF2B5EF4-FFF2-40B4-BE49-F238E27FC236}">
                      <a16:creationId xmlns:a16="http://schemas.microsoft.com/office/drawing/2014/main" id="{D232750D-D737-4C4E-A53C-CB78B942C317}"/>
                    </a:ext>
                  </a:extLst>
                </p:cNvPr>
                <p:cNvGrpSpPr/>
                <p:nvPr/>
              </p:nvGrpSpPr>
              <p:grpSpPr>
                <a:xfrm>
                  <a:off x="5477779" y="5013499"/>
                  <a:ext cx="268565" cy="320040"/>
                  <a:chOff x="5477779" y="5010341"/>
                  <a:chExt cx="268565" cy="320040"/>
                </a:xfrm>
              </p:grpSpPr>
              <p:sp>
                <p:nvSpPr>
                  <p:cNvPr id="492" name="Freeform 5">
                    <a:extLst>
                      <a:ext uri="{FF2B5EF4-FFF2-40B4-BE49-F238E27FC236}">
                        <a16:creationId xmlns:a16="http://schemas.microsoft.com/office/drawing/2014/main" id="{12E61AA8-82FA-49C5-A44D-8B330EA30A4C}"/>
                      </a:ext>
                    </a:extLst>
                  </p:cNvPr>
                  <p:cNvSpPr>
                    <a:spLocks/>
                  </p:cNvSpPr>
                  <p:nvPr/>
                </p:nvSpPr>
                <p:spPr bwMode="auto">
                  <a:xfrm>
                    <a:off x="5477779"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493" name="Group 492">
                    <a:extLst>
                      <a:ext uri="{FF2B5EF4-FFF2-40B4-BE49-F238E27FC236}">
                        <a16:creationId xmlns:a16="http://schemas.microsoft.com/office/drawing/2014/main" id="{51ECC38A-9DB9-4309-94CB-AD47D3DBAD61}"/>
                      </a:ext>
                    </a:extLst>
                  </p:cNvPr>
                  <p:cNvGrpSpPr/>
                  <p:nvPr/>
                </p:nvGrpSpPr>
                <p:grpSpPr>
                  <a:xfrm>
                    <a:off x="5518161" y="5046557"/>
                    <a:ext cx="187770" cy="208407"/>
                    <a:chOff x="5513643" y="5046557"/>
                    <a:chExt cx="187770" cy="208407"/>
                  </a:xfrm>
                  <a:solidFill>
                    <a:srgbClr val="0078D3"/>
                  </a:solidFill>
                </p:grpSpPr>
                <p:sp>
                  <p:nvSpPr>
                    <p:cNvPr id="494" name="Oval 493">
                      <a:extLst>
                        <a:ext uri="{FF2B5EF4-FFF2-40B4-BE49-F238E27FC236}">
                          <a16:creationId xmlns:a16="http://schemas.microsoft.com/office/drawing/2014/main" id="{82CAE48B-8437-4B8F-A3B0-8E1B12E7DC45}"/>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5" name="Oval 494">
                      <a:extLst>
                        <a:ext uri="{FF2B5EF4-FFF2-40B4-BE49-F238E27FC236}">
                          <a16:creationId xmlns:a16="http://schemas.microsoft.com/office/drawing/2014/main" id="{CC510F71-B43F-4BF9-A9F6-C62E879C07CF}"/>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6" name="Oval 495">
                      <a:extLst>
                        <a:ext uri="{FF2B5EF4-FFF2-40B4-BE49-F238E27FC236}">
                          <a16:creationId xmlns:a16="http://schemas.microsoft.com/office/drawing/2014/main" id="{749BA1E1-5576-44A6-AE17-5420E3113115}"/>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7" name="Oval 496">
                      <a:extLst>
                        <a:ext uri="{FF2B5EF4-FFF2-40B4-BE49-F238E27FC236}">
                          <a16:creationId xmlns:a16="http://schemas.microsoft.com/office/drawing/2014/main" id="{6E62C811-A204-4946-95EE-8477366DACEB}"/>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88" name="Group 487">
                  <a:extLst>
                    <a:ext uri="{FF2B5EF4-FFF2-40B4-BE49-F238E27FC236}">
                      <a16:creationId xmlns:a16="http://schemas.microsoft.com/office/drawing/2014/main" id="{61558C5C-4FD2-43B5-9631-DDF5C2971A85}"/>
                    </a:ext>
                  </a:extLst>
                </p:cNvPr>
                <p:cNvGrpSpPr/>
                <p:nvPr/>
              </p:nvGrpSpPr>
              <p:grpSpPr>
                <a:xfrm>
                  <a:off x="5571787" y="5284616"/>
                  <a:ext cx="80519" cy="48923"/>
                  <a:chOff x="5884568" y="5297481"/>
                  <a:chExt cx="80519" cy="48923"/>
                </a:xfrm>
              </p:grpSpPr>
              <p:sp>
                <p:nvSpPr>
                  <p:cNvPr id="489" name="Line 7">
                    <a:extLst>
                      <a:ext uri="{FF2B5EF4-FFF2-40B4-BE49-F238E27FC236}">
                        <a16:creationId xmlns:a16="http://schemas.microsoft.com/office/drawing/2014/main" id="{E34E7785-25FA-4D5F-A298-4211CBAE351F}"/>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90" name="Line 8">
                    <a:extLst>
                      <a:ext uri="{FF2B5EF4-FFF2-40B4-BE49-F238E27FC236}">
                        <a16:creationId xmlns:a16="http://schemas.microsoft.com/office/drawing/2014/main" id="{DAE38781-2F7C-4EE6-BAA5-E1AF2189A4C4}"/>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91" name="Line 9">
                    <a:extLst>
                      <a:ext uri="{FF2B5EF4-FFF2-40B4-BE49-F238E27FC236}">
                        <a16:creationId xmlns:a16="http://schemas.microsoft.com/office/drawing/2014/main" id="{900FED9E-5B5E-411A-91F2-6F557D642972}"/>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475" name="Group 474">
                <a:extLst>
                  <a:ext uri="{FF2B5EF4-FFF2-40B4-BE49-F238E27FC236}">
                    <a16:creationId xmlns:a16="http://schemas.microsoft.com/office/drawing/2014/main" id="{E6170EAC-C6F0-4C4D-B8FC-19542B346192}"/>
                  </a:ext>
                </a:extLst>
              </p:cNvPr>
              <p:cNvGrpSpPr>
                <a:grpSpLocks noChangeAspect="1"/>
              </p:cNvGrpSpPr>
              <p:nvPr/>
            </p:nvGrpSpPr>
            <p:grpSpPr>
              <a:xfrm>
                <a:off x="5323367" y="4051011"/>
                <a:ext cx="358571" cy="427296"/>
                <a:chOff x="5477750" y="5013499"/>
                <a:chExt cx="268565" cy="320040"/>
              </a:xfrm>
            </p:grpSpPr>
            <p:grpSp>
              <p:nvGrpSpPr>
                <p:cNvPr id="476" name="Group 475">
                  <a:extLst>
                    <a:ext uri="{FF2B5EF4-FFF2-40B4-BE49-F238E27FC236}">
                      <a16:creationId xmlns:a16="http://schemas.microsoft.com/office/drawing/2014/main" id="{4D983BEC-ADB1-42B5-9149-31799600EBDC}"/>
                    </a:ext>
                  </a:extLst>
                </p:cNvPr>
                <p:cNvGrpSpPr/>
                <p:nvPr/>
              </p:nvGrpSpPr>
              <p:grpSpPr>
                <a:xfrm>
                  <a:off x="5477750" y="5013499"/>
                  <a:ext cx="268565" cy="320040"/>
                  <a:chOff x="5477750" y="5010341"/>
                  <a:chExt cx="268565" cy="320040"/>
                </a:xfrm>
              </p:grpSpPr>
              <p:sp>
                <p:nvSpPr>
                  <p:cNvPr id="481" name="Freeform 5">
                    <a:extLst>
                      <a:ext uri="{FF2B5EF4-FFF2-40B4-BE49-F238E27FC236}">
                        <a16:creationId xmlns:a16="http://schemas.microsoft.com/office/drawing/2014/main" id="{612161FB-883D-4FF9-B74D-150BD88EE648}"/>
                      </a:ext>
                    </a:extLst>
                  </p:cNvPr>
                  <p:cNvSpPr>
                    <a:spLocks/>
                  </p:cNvSpPr>
                  <p:nvPr/>
                </p:nvSpPr>
                <p:spPr bwMode="auto">
                  <a:xfrm>
                    <a:off x="5477750"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482" name="Group 481">
                    <a:extLst>
                      <a:ext uri="{FF2B5EF4-FFF2-40B4-BE49-F238E27FC236}">
                        <a16:creationId xmlns:a16="http://schemas.microsoft.com/office/drawing/2014/main" id="{A79C678F-75EE-4CED-850B-13A461640042}"/>
                      </a:ext>
                    </a:extLst>
                  </p:cNvPr>
                  <p:cNvGrpSpPr/>
                  <p:nvPr/>
                </p:nvGrpSpPr>
                <p:grpSpPr>
                  <a:xfrm>
                    <a:off x="5518161" y="5046557"/>
                    <a:ext cx="187770" cy="208407"/>
                    <a:chOff x="5513643" y="5046557"/>
                    <a:chExt cx="187770" cy="208407"/>
                  </a:xfrm>
                  <a:solidFill>
                    <a:srgbClr val="0078D3"/>
                  </a:solidFill>
                </p:grpSpPr>
                <p:sp>
                  <p:nvSpPr>
                    <p:cNvPr id="483" name="Oval 482">
                      <a:extLst>
                        <a:ext uri="{FF2B5EF4-FFF2-40B4-BE49-F238E27FC236}">
                          <a16:creationId xmlns:a16="http://schemas.microsoft.com/office/drawing/2014/main" id="{44EA34F7-E073-41B5-9C3F-BAD2A91AA120}"/>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4" name="Oval 483">
                      <a:extLst>
                        <a:ext uri="{FF2B5EF4-FFF2-40B4-BE49-F238E27FC236}">
                          <a16:creationId xmlns:a16="http://schemas.microsoft.com/office/drawing/2014/main" id="{3B7FC66A-A70C-44B5-93A3-B92593509884}"/>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5" name="Oval 484">
                      <a:extLst>
                        <a:ext uri="{FF2B5EF4-FFF2-40B4-BE49-F238E27FC236}">
                          <a16:creationId xmlns:a16="http://schemas.microsoft.com/office/drawing/2014/main" id="{4BC4C65A-31F7-4BA1-9A22-DD7B93D1B1FF}"/>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6" name="Oval 485">
                      <a:extLst>
                        <a:ext uri="{FF2B5EF4-FFF2-40B4-BE49-F238E27FC236}">
                          <a16:creationId xmlns:a16="http://schemas.microsoft.com/office/drawing/2014/main" id="{AF54BAA7-4065-42A6-B087-AC890E1C1E09}"/>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77" name="Group 476">
                  <a:extLst>
                    <a:ext uri="{FF2B5EF4-FFF2-40B4-BE49-F238E27FC236}">
                      <a16:creationId xmlns:a16="http://schemas.microsoft.com/office/drawing/2014/main" id="{8BB4CE45-B334-4D20-BA67-A8A256543DA3}"/>
                    </a:ext>
                  </a:extLst>
                </p:cNvPr>
                <p:cNvGrpSpPr/>
                <p:nvPr/>
              </p:nvGrpSpPr>
              <p:grpSpPr>
                <a:xfrm>
                  <a:off x="5571787" y="5284616"/>
                  <a:ext cx="80519" cy="48923"/>
                  <a:chOff x="5884568" y="5297481"/>
                  <a:chExt cx="80519" cy="48923"/>
                </a:xfrm>
              </p:grpSpPr>
              <p:sp>
                <p:nvSpPr>
                  <p:cNvPr id="478" name="Line 7">
                    <a:extLst>
                      <a:ext uri="{FF2B5EF4-FFF2-40B4-BE49-F238E27FC236}">
                        <a16:creationId xmlns:a16="http://schemas.microsoft.com/office/drawing/2014/main" id="{BF48FD3D-9228-4BC3-B520-84702D1C458E}"/>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79" name="Line 8">
                    <a:extLst>
                      <a:ext uri="{FF2B5EF4-FFF2-40B4-BE49-F238E27FC236}">
                        <a16:creationId xmlns:a16="http://schemas.microsoft.com/office/drawing/2014/main" id="{A92FDD4C-C103-4CEB-A729-616279BF0C79}"/>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80" name="Line 9">
                    <a:extLst>
                      <a:ext uri="{FF2B5EF4-FFF2-40B4-BE49-F238E27FC236}">
                        <a16:creationId xmlns:a16="http://schemas.microsoft.com/office/drawing/2014/main" id="{A5112BB2-4DCD-444B-8F2E-DFC9589F9FE1}"/>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sp>
          <p:nvSpPr>
            <p:cNvPr id="441" name="TextBox 440">
              <a:extLst>
                <a:ext uri="{FF2B5EF4-FFF2-40B4-BE49-F238E27FC236}">
                  <a16:creationId xmlns:a16="http://schemas.microsoft.com/office/drawing/2014/main" id="{4966A3BB-6B6C-4C7E-8DA0-A046D9FC8760}"/>
                </a:ext>
              </a:extLst>
            </p:cNvPr>
            <p:cNvSpPr txBox="1"/>
            <p:nvPr/>
          </p:nvSpPr>
          <p:spPr>
            <a:xfrm>
              <a:off x="3009911" y="5238290"/>
              <a:ext cx="1310140"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tandard SSD</a:t>
              </a:r>
            </a:p>
          </p:txBody>
        </p:sp>
      </p:grpSp>
      <p:grpSp>
        <p:nvGrpSpPr>
          <p:cNvPr id="509" name="Group 508">
            <a:extLst>
              <a:ext uri="{FF2B5EF4-FFF2-40B4-BE49-F238E27FC236}">
                <a16:creationId xmlns:a16="http://schemas.microsoft.com/office/drawing/2014/main" id="{95DFEE2F-37CA-4277-BC1C-3295C29D0AC5}"/>
              </a:ext>
              <a:ext uri="{C183D7F6-B498-43B3-948B-1728B52AA6E4}">
                <adec:decorative xmlns:adec="http://schemas.microsoft.com/office/drawing/2017/decorative" val="1"/>
              </a:ext>
            </a:extLst>
          </p:cNvPr>
          <p:cNvGrpSpPr/>
          <p:nvPr/>
        </p:nvGrpSpPr>
        <p:grpSpPr>
          <a:xfrm>
            <a:off x="4841553" y="5011447"/>
            <a:ext cx="1331271" cy="660315"/>
            <a:chOff x="4314152" y="4822137"/>
            <a:chExt cx="1331271" cy="660315"/>
          </a:xfrm>
        </p:grpSpPr>
        <p:grpSp>
          <p:nvGrpSpPr>
            <p:cNvPr id="510" name="Group 509">
              <a:extLst>
                <a:ext uri="{FF2B5EF4-FFF2-40B4-BE49-F238E27FC236}">
                  <a16:creationId xmlns:a16="http://schemas.microsoft.com/office/drawing/2014/main" id="{FFF51101-21DF-40C6-92C5-B9693A1077C1}"/>
                </a:ext>
              </a:extLst>
            </p:cNvPr>
            <p:cNvGrpSpPr/>
            <p:nvPr/>
          </p:nvGrpSpPr>
          <p:grpSpPr>
            <a:xfrm>
              <a:off x="4448600" y="4822137"/>
              <a:ext cx="1102130" cy="448257"/>
              <a:chOff x="6332609" y="4051011"/>
              <a:chExt cx="1402627" cy="570475"/>
            </a:xfrm>
          </p:grpSpPr>
          <p:grpSp>
            <p:nvGrpSpPr>
              <p:cNvPr id="512" name="Group 511">
                <a:extLst>
                  <a:ext uri="{FF2B5EF4-FFF2-40B4-BE49-F238E27FC236}">
                    <a16:creationId xmlns:a16="http://schemas.microsoft.com/office/drawing/2014/main" id="{EEEDD8AF-143E-4063-AF29-6591A7ED078A}"/>
                  </a:ext>
                </a:extLst>
              </p:cNvPr>
              <p:cNvGrpSpPr/>
              <p:nvPr/>
            </p:nvGrpSpPr>
            <p:grpSpPr>
              <a:xfrm>
                <a:off x="7234013" y="4051011"/>
                <a:ext cx="501223" cy="570475"/>
                <a:chOff x="8618441" y="2851722"/>
                <a:chExt cx="511273" cy="581914"/>
              </a:xfrm>
            </p:grpSpPr>
            <p:grpSp>
              <p:nvGrpSpPr>
                <p:cNvPr id="545" name="Group 544">
                  <a:extLst>
                    <a:ext uri="{FF2B5EF4-FFF2-40B4-BE49-F238E27FC236}">
                      <a16:creationId xmlns:a16="http://schemas.microsoft.com/office/drawing/2014/main" id="{ACD32508-B476-4B9A-9D33-3B611512DDDD}"/>
                    </a:ext>
                  </a:extLst>
                </p:cNvPr>
                <p:cNvGrpSpPr>
                  <a:grpSpLocks noChangeAspect="1"/>
                </p:cNvGrpSpPr>
                <p:nvPr/>
              </p:nvGrpSpPr>
              <p:grpSpPr>
                <a:xfrm>
                  <a:off x="8618441" y="2851722"/>
                  <a:ext cx="365760" cy="435864"/>
                  <a:chOff x="5477764" y="5013499"/>
                  <a:chExt cx="268565" cy="320040"/>
                </a:xfrm>
              </p:grpSpPr>
              <p:grpSp>
                <p:nvGrpSpPr>
                  <p:cNvPr id="549" name="Group 548">
                    <a:extLst>
                      <a:ext uri="{FF2B5EF4-FFF2-40B4-BE49-F238E27FC236}">
                        <a16:creationId xmlns:a16="http://schemas.microsoft.com/office/drawing/2014/main" id="{022D14A6-BED1-4E75-ADAB-889E553649FB}"/>
                      </a:ext>
                    </a:extLst>
                  </p:cNvPr>
                  <p:cNvGrpSpPr/>
                  <p:nvPr/>
                </p:nvGrpSpPr>
                <p:grpSpPr>
                  <a:xfrm>
                    <a:off x="5477764" y="5013499"/>
                    <a:ext cx="268565" cy="320040"/>
                    <a:chOff x="5477764" y="5010341"/>
                    <a:chExt cx="268565" cy="320040"/>
                  </a:xfrm>
                </p:grpSpPr>
                <p:sp>
                  <p:nvSpPr>
                    <p:cNvPr id="554" name="Freeform 5">
                      <a:extLst>
                        <a:ext uri="{FF2B5EF4-FFF2-40B4-BE49-F238E27FC236}">
                          <a16:creationId xmlns:a16="http://schemas.microsoft.com/office/drawing/2014/main" id="{B708DDD9-C45E-4710-95BC-3060D3652AE4}"/>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555" name="Group 554">
                      <a:extLst>
                        <a:ext uri="{FF2B5EF4-FFF2-40B4-BE49-F238E27FC236}">
                          <a16:creationId xmlns:a16="http://schemas.microsoft.com/office/drawing/2014/main" id="{E50FF596-0569-455A-9A60-AD81FED869D2}"/>
                        </a:ext>
                      </a:extLst>
                    </p:cNvPr>
                    <p:cNvGrpSpPr/>
                    <p:nvPr/>
                  </p:nvGrpSpPr>
                  <p:grpSpPr>
                    <a:xfrm>
                      <a:off x="5518161" y="5046557"/>
                      <a:ext cx="187770" cy="208407"/>
                      <a:chOff x="5513643" y="5046557"/>
                      <a:chExt cx="187770" cy="208407"/>
                    </a:xfrm>
                    <a:solidFill>
                      <a:srgbClr val="0078D3"/>
                    </a:solidFill>
                  </p:grpSpPr>
                  <p:sp>
                    <p:nvSpPr>
                      <p:cNvPr id="556" name="Oval 555">
                        <a:extLst>
                          <a:ext uri="{FF2B5EF4-FFF2-40B4-BE49-F238E27FC236}">
                            <a16:creationId xmlns:a16="http://schemas.microsoft.com/office/drawing/2014/main" id="{6CB02F6F-9FB1-4426-9E67-3E4EA9724F20}"/>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Oval 556">
                        <a:extLst>
                          <a:ext uri="{FF2B5EF4-FFF2-40B4-BE49-F238E27FC236}">
                            <a16:creationId xmlns:a16="http://schemas.microsoft.com/office/drawing/2014/main" id="{398D1EEF-4447-40B8-9D99-B64DC2666134}"/>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Oval 557">
                        <a:extLst>
                          <a:ext uri="{FF2B5EF4-FFF2-40B4-BE49-F238E27FC236}">
                            <a16:creationId xmlns:a16="http://schemas.microsoft.com/office/drawing/2014/main" id="{10C02823-EA26-44B3-AB78-B02891B1A745}"/>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Oval 558">
                        <a:extLst>
                          <a:ext uri="{FF2B5EF4-FFF2-40B4-BE49-F238E27FC236}">
                            <a16:creationId xmlns:a16="http://schemas.microsoft.com/office/drawing/2014/main" id="{204D6A83-96A0-499B-88EC-1A40D741A94A}"/>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50" name="Group 549">
                    <a:extLst>
                      <a:ext uri="{FF2B5EF4-FFF2-40B4-BE49-F238E27FC236}">
                        <a16:creationId xmlns:a16="http://schemas.microsoft.com/office/drawing/2014/main" id="{4769208F-75C6-443F-AC55-1186C78F25D6}"/>
                      </a:ext>
                    </a:extLst>
                  </p:cNvPr>
                  <p:cNvGrpSpPr/>
                  <p:nvPr/>
                </p:nvGrpSpPr>
                <p:grpSpPr>
                  <a:xfrm>
                    <a:off x="5571787" y="5284616"/>
                    <a:ext cx="80519" cy="48923"/>
                    <a:chOff x="5884568" y="5297481"/>
                    <a:chExt cx="80519" cy="48923"/>
                  </a:xfrm>
                </p:grpSpPr>
                <p:sp>
                  <p:nvSpPr>
                    <p:cNvPr id="551" name="Line 7">
                      <a:extLst>
                        <a:ext uri="{FF2B5EF4-FFF2-40B4-BE49-F238E27FC236}">
                          <a16:creationId xmlns:a16="http://schemas.microsoft.com/office/drawing/2014/main" id="{E1614959-FBFC-4D49-9629-D4B2F9888E55}"/>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552" name="Line 8">
                      <a:extLst>
                        <a:ext uri="{FF2B5EF4-FFF2-40B4-BE49-F238E27FC236}">
                          <a16:creationId xmlns:a16="http://schemas.microsoft.com/office/drawing/2014/main" id="{B8804698-F88C-410D-9507-F9B6B98CF517}"/>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553" name="Line 9">
                      <a:extLst>
                        <a:ext uri="{FF2B5EF4-FFF2-40B4-BE49-F238E27FC236}">
                          <a16:creationId xmlns:a16="http://schemas.microsoft.com/office/drawing/2014/main" id="{1DB90EEB-847C-45B2-8D7E-9E3ABBA9BF3C}"/>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546" name="Group 545">
                  <a:extLst>
                    <a:ext uri="{FF2B5EF4-FFF2-40B4-BE49-F238E27FC236}">
                      <a16:creationId xmlns:a16="http://schemas.microsoft.com/office/drawing/2014/main" id="{34D0DA11-1756-4052-A316-761718D9E5B4}"/>
                    </a:ext>
                  </a:extLst>
                </p:cNvPr>
                <p:cNvGrpSpPr/>
                <p:nvPr/>
              </p:nvGrpSpPr>
              <p:grpSpPr>
                <a:xfrm>
                  <a:off x="8837614" y="3141536"/>
                  <a:ext cx="292100" cy="292100"/>
                  <a:chOff x="9201151" y="3497263"/>
                  <a:chExt cx="292100" cy="292100"/>
                </a:xfrm>
              </p:grpSpPr>
              <p:sp>
                <p:nvSpPr>
                  <p:cNvPr id="547" name="Oval 546">
                    <a:extLst>
                      <a:ext uri="{FF2B5EF4-FFF2-40B4-BE49-F238E27FC236}">
                        <a16:creationId xmlns:a16="http://schemas.microsoft.com/office/drawing/2014/main" id="{38C546EA-1A2D-4554-97E3-EFBD51013D6C}"/>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8" name="Freeform 1018">
                    <a:extLst>
                      <a:ext uri="{FF2B5EF4-FFF2-40B4-BE49-F238E27FC236}">
                        <a16:creationId xmlns:a16="http://schemas.microsoft.com/office/drawing/2014/main" id="{01328507-9D89-4B26-A84C-CFBD53936F86}"/>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513" name="Group 512">
                <a:extLst>
                  <a:ext uri="{FF2B5EF4-FFF2-40B4-BE49-F238E27FC236}">
                    <a16:creationId xmlns:a16="http://schemas.microsoft.com/office/drawing/2014/main" id="{526C2726-0CA3-40FB-B15E-98CDEFFFBC1A}"/>
                  </a:ext>
                </a:extLst>
              </p:cNvPr>
              <p:cNvGrpSpPr/>
              <p:nvPr/>
            </p:nvGrpSpPr>
            <p:grpSpPr>
              <a:xfrm>
                <a:off x="6783311" y="4051011"/>
                <a:ext cx="501223" cy="570475"/>
                <a:chOff x="8618441" y="2851722"/>
                <a:chExt cx="511273" cy="581914"/>
              </a:xfrm>
            </p:grpSpPr>
            <p:grpSp>
              <p:nvGrpSpPr>
                <p:cNvPr id="530" name="Group 529">
                  <a:extLst>
                    <a:ext uri="{FF2B5EF4-FFF2-40B4-BE49-F238E27FC236}">
                      <a16:creationId xmlns:a16="http://schemas.microsoft.com/office/drawing/2014/main" id="{FBEA57CF-2CD6-4C03-B7D7-0D01C9047936}"/>
                    </a:ext>
                  </a:extLst>
                </p:cNvPr>
                <p:cNvGrpSpPr>
                  <a:grpSpLocks noChangeAspect="1"/>
                </p:cNvGrpSpPr>
                <p:nvPr/>
              </p:nvGrpSpPr>
              <p:grpSpPr>
                <a:xfrm>
                  <a:off x="8618441" y="2851722"/>
                  <a:ext cx="365760" cy="435864"/>
                  <a:chOff x="5477764" y="5013499"/>
                  <a:chExt cx="268565" cy="320040"/>
                </a:xfrm>
              </p:grpSpPr>
              <p:grpSp>
                <p:nvGrpSpPr>
                  <p:cNvPr id="534" name="Group 533">
                    <a:extLst>
                      <a:ext uri="{FF2B5EF4-FFF2-40B4-BE49-F238E27FC236}">
                        <a16:creationId xmlns:a16="http://schemas.microsoft.com/office/drawing/2014/main" id="{329E5F5A-F197-4C20-8A86-3BD2A20FA48E}"/>
                      </a:ext>
                    </a:extLst>
                  </p:cNvPr>
                  <p:cNvGrpSpPr/>
                  <p:nvPr/>
                </p:nvGrpSpPr>
                <p:grpSpPr>
                  <a:xfrm>
                    <a:off x="5477764" y="5013499"/>
                    <a:ext cx="268565" cy="320040"/>
                    <a:chOff x="5477764" y="5010341"/>
                    <a:chExt cx="268565" cy="320040"/>
                  </a:xfrm>
                </p:grpSpPr>
                <p:sp>
                  <p:nvSpPr>
                    <p:cNvPr id="539" name="Freeform 5">
                      <a:extLst>
                        <a:ext uri="{FF2B5EF4-FFF2-40B4-BE49-F238E27FC236}">
                          <a16:creationId xmlns:a16="http://schemas.microsoft.com/office/drawing/2014/main" id="{E7266096-CC17-4755-8354-4118416ED55E}"/>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540" name="Group 539">
                      <a:extLst>
                        <a:ext uri="{FF2B5EF4-FFF2-40B4-BE49-F238E27FC236}">
                          <a16:creationId xmlns:a16="http://schemas.microsoft.com/office/drawing/2014/main" id="{C78E1F5A-8927-477E-A2E8-C9D07B0B4956}"/>
                        </a:ext>
                      </a:extLst>
                    </p:cNvPr>
                    <p:cNvGrpSpPr/>
                    <p:nvPr/>
                  </p:nvGrpSpPr>
                  <p:grpSpPr>
                    <a:xfrm>
                      <a:off x="5518161" y="5046557"/>
                      <a:ext cx="187770" cy="208407"/>
                      <a:chOff x="5513643" y="5046557"/>
                      <a:chExt cx="187770" cy="208407"/>
                    </a:xfrm>
                    <a:solidFill>
                      <a:srgbClr val="0078D3"/>
                    </a:solidFill>
                  </p:grpSpPr>
                  <p:sp>
                    <p:nvSpPr>
                      <p:cNvPr id="541" name="Oval 540">
                        <a:extLst>
                          <a:ext uri="{FF2B5EF4-FFF2-40B4-BE49-F238E27FC236}">
                            <a16:creationId xmlns:a16="http://schemas.microsoft.com/office/drawing/2014/main" id="{80402FE9-FB91-4859-84F5-469759243026}"/>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2" name="Oval 541">
                        <a:extLst>
                          <a:ext uri="{FF2B5EF4-FFF2-40B4-BE49-F238E27FC236}">
                            <a16:creationId xmlns:a16="http://schemas.microsoft.com/office/drawing/2014/main" id="{D523506A-5815-43BE-8C1A-2AB756726122}"/>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3" name="Oval 542">
                        <a:extLst>
                          <a:ext uri="{FF2B5EF4-FFF2-40B4-BE49-F238E27FC236}">
                            <a16:creationId xmlns:a16="http://schemas.microsoft.com/office/drawing/2014/main" id="{464AA4A5-0CD9-410E-960D-D949C6C1651C}"/>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4" name="Oval 543">
                        <a:extLst>
                          <a:ext uri="{FF2B5EF4-FFF2-40B4-BE49-F238E27FC236}">
                            <a16:creationId xmlns:a16="http://schemas.microsoft.com/office/drawing/2014/main" id="{38DDB494-942F-440F-9220-6EECEEAAD374}"/>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35" name="Group 534">
                    <a:extLst>
                      <a:ext uri="{FF2B5EF4-FFF2-40B4-BE49-F238E27FC236}">
                        <a16:creationId xmlns:a16="http://schemas.microsoft.com/office/drawing/2014/main" id="{A5C56012-44F4-49C5-9601-444CBAEEBB1E}"/>
                      </a:ext>
                    </a:extLst>
                  </p:cNvPr>
                  <p:cNvGrpSpPr/>
                  <p:nvPr/>
                </p:nvGrpSpPr>
                <p:grpSpPr>
                  <a:xfrm>
                    <a:off x="5571787" y="5284616"/>
                    <a:ext cx="80519" cy="48923"/>
                    <a:chOff x="5884568" y="5297481"/>
                    <a:chExt cx="80519" cy="48923"/>
                  </a:xfrm>
                </p:grpSpPr>
                <p:sp>
                  <p:nvSpPr>
                    <p:cNvPr id="536" name="Line 7">
                      <a:extLst>
                        <a:ext uri="{FF2B5EF4-FFF2-40B4-BE49-F238E27FC236}">
                          <a16:creationId xmlns:a16="http://schemas.microsoft.com/office/drawing/2014/main" id="{67792437-F146-4C75-B180-5CA443474727}"/>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537" name="Line 8">
                      <a:extLst>
                        <a:ext uri="{FF2B5EF4-FFF2-40B4-BE49-F238E27FC236}">
                          <a16:creationId xmlns:a16="http://schemas.microsoft.com/office/drawing/2014/main" id="{7B1DBF58-E72D-4E90-B510-D921008C8DF9}"/>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538" name="Line 9">
                      <a:extLst>
                        <a:ext uri="{FF2B5EF4-FFF2-40B4-BE49-F238E27FC236}">
                          <a16:creationId xmlns:a16="http://schemas.microsoft.com/office/drawing/2014/main" id="{BEF247E5-0154-46A5-9A85-2357FF1FC0AA}"/>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531" name="Group 530">
                  <a:extLst>
                    <a:ext uri="{FF2B5EF4-FFF2-40B4-BE49-F238E27FC236}">
                      <a16:creationId xmlns:a16="http://schemas.microsoft.com/office/drawing/2014/main" id="{FEC45946-2993-43BA-A83D-2437E48B7E9A}"/>
                    </a:ext>
                  </a:extLst>
                </p:cNvPr>
                <p:cNvGrpSpPr/>
                <p:nvPr/>
              </p:nvGrpSpPr>
              <p:grpSpPr>
                <a:xfrm>
                  <a:off x="8837614" y="3141536"/>
                  <a:ext cx="292100" cy="292100"/>
                  <a:chOff x="9201151" y="3497263"/>
                  <a:chExt cx="292100" cy="292100"/>
                </a:xfrm>
              </p:grpSpPr>
              <p:sp>
                <p:nvSpPr>
                  <p:cNvPr id="532" name="Oval 531">
                    <a:extLst>
                      <a:ext uri="{FF2B5EF4-FFF2-40B4-BE49-F238E27FC236}">
                        <a16:creationId xmlns:a16="http://schemas.microsoft.com/office/drawing/2014/main" id="{704F19AB-595B-4679-8D87-2A609A4424D5}"/>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3" name="Freeform 1018">
                    <a:extLst>
                      <a:ext uri="{FF2B5EF4-FFF2-40B4-BE49-F238E27FC236}">
                        <a16:creationId xmlns:a16="http://schemas.microsoft.com/office/drawing/2014/main" id="{B8FD4FDC-8FCC-43D3-A117-D2C2656C05B9}"/>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514" name="Group 513">
                <a:extLst>
                  <a:ext uri="{FF2B5EF4-FFF2-40B4-BE49-F238E27FC236}">
                    <a16:creationId xmlns:a16="http://schemas.microsoft.com/office/drawing/2014/main" id="{833C00B9-DBBB-4532-B0E3-6BA76D565FEF}"/>
                  </a:ext>
                </a:extLst>
              </p:cNvPr>
              <p:cNvGrpSpPr/>
              <p:nvPr/>
            </p:nvGrpSpPr>
            <p:grpSpPr>
              <a:xfrm>
                <a:off x="6332609" y="4051011"/>
                <a:ext cx="501223" cy="570475"/>
                <a:chOff x="8618441" y="2851722"/>
                <a:chExt cx="511273" cy="581914"/>
              </a:xfrm>
            </p:grpSpPr>
            <p:grpSp>
              <p:nvGrpSpPr>
                <p:cNvPr id="515" name="Group 514">
                  <a:extLst>
                    <a:ext uri="{FF2B5EF4-FFF2-40B4-BE49-F238E27FC236}">
                      <a16:creationId xmlns:a16="http://schemas.microsoft.com/office/drawing/2014/main" id="{AF266529-F852-4D73-8C7A-5CABF83E5BBA}"/>
                    </a:ext>
                  </a:extLst>
                </p:cNvPr>
                <p:cNvGrpSpPr>
                  <a:grpSpLocks noChangeAspect="1"/>
                </p:cNvGrpSpPr>
                <p:nvPr/>
              </p:nvGrpSpPr>
              <p:grpSpPr>
                <a:xfrm>
                  <a:off x="8618441" y="2851722"/>
                  <a:ext cx="365760" cy="435864"/>
                  <a:chOff x="5477764" y="5013499"/>
                  <a:chExt cx="268565" cy="320040"/>
                </a:xfrm>
              </p:grpSpPr>
              <p:grpSp>
                <p:nvGrpSpPr>
                  <p:cNvPr id="519" name="Group 518">
                    <a:extLst>
                      <a:ext uri="{FF2B5EF4-FFF2-40B4-BE49-F238E27FC236}">
                        <a16:creationId xmlns:a16="http://schemas.microsoft.com/office/drawing/2014/main" id="{62F4B997-D9B3-4181-AA68-B79506E58263}"/>
                      </a:ext>
                    </a:extLst>
                  </p:cNvPr>
                  <p:cNvGrpSpPr/>
                  <p:nvPr/>
                </p:nvGrpSpPr>
                <p:grpSpPr>
                  <a:xfrm>
                    <a:off x="5477764" y="5013499"/>
                    <a:ext cx="268565" cy="320040"/>
                    <a:chOff x="5477764" y="5010341"/>
                    <a:chExt cx="268565" cy="320040"/>
                  </a:xfrm>
                </p:grpSpPr>
                <p:sp>
                  <p:nvSpPr>
                    <p:cNvPr id="524" name="Freeform 5">
                      <a:extLst>
                        <a:ext uri="{FF2B5EF4-FFF2-40B4-BE49-F238E27FC236}">
                          <a16:creationId xmlns:a16="http://schemas.microsoft.com/office/drawing/2014/main" id="{E665B9BB-86D0-4621-9F05-008B5FA97944}"/>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525" name="Group 524">
                      <a:extLst>
                        <a:ext uri="{FF2B5EF4-FFF2-40B4-BE49-F238E27FC236}">
                          <a16:creationId xmlns:a16="http://schemas.microsoft.com/office/drawing/2014/main" id="{2CCC9C82-5A9D-4AB3-872E-3DD1E69F6D54}"/>
                        </a:ext>
                      </a:extLst>
                    </p:cNvPr>
                    <p:cNvGrpSpPr/>
                    <p:nvPr/>
                  </p:nvGrpSpPr>
                  <p:grpSpPr>
                    <a:xfrm>
                      <a:off x="5518161" y="5046557"/>
                      <a:ext cx="187770" cy="208407"/>
                      <a:chOff x="5513643" y="5046557"/>
                      <a:chExt cx="187770" cy="208407"/>
                    </a:xfrm>
                    <a:solidFill>
                      <a:srgbClr val="0078D3"/>
                    </a:solidFill>
                  </p:grpSpPr>
                  <p:sp>
                    <p:nvSpPr>
                      <p:cNvPr id="526" name="Oval 525">
                        <a:extLst>
                          <a:ext uri="{FF2B5EF4-FFF2-40B4-BE49-F238E27FC236}">
                            <a16:creationId xmlns:a16="http://schemas.microsoft.com/office/drawing/2014/main" id="{88916420-EB87-4BA9-A538-11B85E5AFFC1}"/>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Oval 526">
                        <a:extLst>
                          <a:ext uri="{FF2B5EF4-FFF2-40B4-BE49-F238E27FC236}">
                            <a16:creationId xmlns:a16="http://schemas.microsoft.com/office/drawing/2014/main" id="{2E21AC5F-48B6-4EA1-8020-4900AA2FD10D}"/>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8" name="Oval 527">
                        <a:extLst>
                          <a:ext uri="{FF2B5EF4-FFF2-40B4-BE49-F238E27FC236}">
                            <a16:creationId xmlns:a16="http://schemas.microsoft.com/office/drawing/2014/main" id="{254F9608-421B-4C7D-9ABE-288BBDB5470A}"/>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9" name="Oval 528">
                        <a:extLst>
                          <a:ext uri="{FF2B5EF4-FFF2-40B4-BE49-F238E27FC236}">
                            <a16:creationId xmlns:a16="http://schemas.microsoft.com/office/drawing/2014/main" id="{DD9C091A-1059-4CD2-A5A0-735A85010A1E}"/>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20" name="Group 519">
                    <a:extLst>
                      <a:ext uri="{FF2B5EF4-FFF2-40B4-BE49-F238E27FC236}">
                        <a16:creationId xmlns:a16="http://schemas.microsoft.com/office/drawing/2014/main" id="{CE80F70C-94E3-498F-8414-A1E143736450}"/>
                      </a:ext>
                    </a:extLst>
                  </p:cNvPr>
                  <p:cNvGrpSpPr/>
                  <p:nvPr/>
                </p:nvGrpSpPr>
                <p:grpSpPr>
                  <a:xfrm>
                    <a:off x="5571787" y="5284616"/>
                    <a:ext cx="80519" cy="48923"/>
                    <a:chOff x="5884568" y="5297481"/>
                    <a:chExt cx="80519" cy="48923"/>
                  </a:xfrm>
                </p:grpSpPr>
                <p:sp>
                  <p:nvSpPr>
                    <p:cNvPr id="521" name="Line 7">
                      <a:extLst>
                        <a:ext uri="{FF2B5EF4-FFF2-40B4-BE49-F238E27FC236}">
                          <a16:creationId xmlns:a16="http://schemas.microsoft.com/office/drawing/2014/main" id="{84CD628C-4672-46FF-A665-62A0AAF84DE6}"/>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522" name="Line 8">
                      <a:extLst>
                        <a:ext uri="{FF2B5EF4-FFF2-40B4-BE49-F238E27FC236}">
                          <a16:creationId xmlns:a16="http://schemas.microsoft.com/office/drawing/2014/main" id="{AD055969-5BD9-4C61-99ED-F06F851FCB8F}"/>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523" name="Line 9">
                      <a:extLst>
                        <a:ext uri="{FF2B5EF4-FFF2-40B4-BE49-F238E27FC236}">
                          <a16:creationId xmlns:a16="http://schemas.microsoft.com/office/drawing/2014/main" id="{7177A44D-A0F8-43AC-985B-0E6D837A1925}"/>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516" name="Group 515">
                  <a:extLst>
                    <a:ext uri="{FF2B5EF4-FFF2-40B4-BE49-F238E27FC236}">
                      <a16:creationId xmlns:a16="http://schemas.microsoft.com/office/drawing/2014/main" id="{00BC8D37-D308-441A-8490-961276DC431A}"/>
                    </a:ext>
                  </a:extLst>
                </p:cNvPr>
                <p:cNvGrpSpPr/>
                <p:nvPr/>
              </p:nvGrpSpPr>
              <p:grpSpPr>
                <a:xfrm>
                  <a:off x="8837614" y="3141536"/>
                  <a:ext cx="292100" cy="292100"/>
                  <a:chOff x="9201151" y="3497263"/>
                  <a:chExt cx="292100" cy="292100"/>
                </a:xfrm>
              </p:grpSpPr>
              <p:sp>
                <p:nvSpPr>
                  <p:cNvPr id="517" name="Oval 516">
                    <a:extLst>
                      <a:ext uri="{FF2B5EF4-FFF2-40B4-BE49-F238E27FC236}">
                        <a16:creationId xmlns:a16="http://schemas.microsoft.com/office/drawing/2014/main" id="{946264A2-A6C0-4119-86DD-98AF457E5FDA}"/>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8" name="Freeform 1018">
                    <a:extLst>
                      <a:ext uri="{FF2B5EF4-FFF2-40B4-BE49-F238E27FC236}">
                        <a16:creationId xmlns:a16="http://schemas.microsoft.com/office/drawing/2014/main" id="{C164CF2E-31A0-4B30-A769-1D4FE2E0FD83}"/>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sp>
          <p:nvSpPr>
            <p:cNvPr id="511" name="TextBox 510">
              <a:extLst>
                <a:ext uri="{FF2B5EF4-FFF2-40B4-BE49-F238E27FC236}">
                  <a16:creationId xmlns:a16="http://schemas.microsoft.com/office/drawing/2014/main" id="{9D138CDA-0FE4-43C5-98C7-06A0426EADC1}"/>
                </a:ext>
              </a:extLst>
            </p:cNvPr>
            <p:cNvSpPr txBox="1"/>
            <p:nvPr/>
          </p:nvSpPr>
          <p:spPr>
            <a:xfrm>
              <a:off x="4314152" y="5278183"/>
              <a:ext cx="1331271"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Premium SSD</a:t>
              </a:r>
            </a:p>
          </p:txBody>
        </p:sp>
      </p:grpSp>
      <p:grpSp>
        <p:nvGrpSpPr>
          <p:cNvPr id="560" name="Group 559">
            <a:extLst>
              <a:ext uri="{FF2B5EF4-FFF2-40B4-BE49-F238E27FC236}">
                <a16:creationId xmlns:a16="http://schemas.microsoft.com/office/drawing/2014/main" id="{4171626C-D6ED-48E3-BDED-4C1CFC820E5E}"/>
              </a:ext>
              <a:ext uri="{C183D7F6-B498-43B3-948B-1728B52AA6E4}">
                <adec:decorative xmlns:adec="http://schemas.microsoft.com/office/drawing/2017/decorative" val="1"/>
              </a:ext>
            </a:extLst>
          </p:cNvPr>
          <p:cNvGrpSpPr/>
          <p:nvPr/>
        </p:nvGrpSpPr>
        <p:grpSpPr>
          <a:xfrm>
            <a:off x="6589602" y="4980790"/>
            <a:ext cx="1317183" cy="749071"/>
            <a:chOff x="5694592" y="4791480"/>
            <a:chExt cx="1317183" cy="749071"/>
          </a:xfrm>
        </p:grpSpPr>
        <p:sp>
          <p:nvSpPr>
            <p:cNvPr id="561" name="TextBox 560">
              <a:extLst>
                <a:ext uri="{FF2B5EF4-FFF2-40B4-BE49-F238E27FC236}">
                  <a16:creationId xmlns:a16="http://schemas.microsoft.com/office/drawing/2014/main" id="{B793CE87-06CF-43E6-88BC-408956F41E7E}"/>
                </a:ext>
              </a:extLst>
            </p:cNvPr>
            <p:cNvSpPr txBox="1"/>
            <p:nvPr/>
          </p:nvSpPr>
          <p:spPr>
            <a:xfrm>
              <a:off x="5694592" y="5336282"/>
              <a:ext cx="1317183"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Ultra Disk</a:t>
              </a:r>
            </a:p>
          </p:txBody>
        </p:sp>
        <p:grpSp>
          <p:nvGrpSpPr>
            <p:cNvPr id="562" name="Group 561">
              <a:extLst>
                <a:ext uri="{FF2B5EF4-FFF2-40B4-BE49-F238E27FC236}">
                  <a16:creationId xmlns:a16="http://schemas.microsoft.com/office/drawing/2014/main" id="{21B39871-7BD7-4DCA-AE9D-FEF75409673D}"/>
                </a:ext>
              </a:extLst>
            </p:cNvPr>
            <p:cNvGrpSpPr/>
            <p:nvPr/>
          </p:nvGrpSpPr>
          <p:grpSpPr>
            <a:xfrm>
              <a:off x="5828745" y="4791480"/>
              <a:ext cx="1101886" cy="448257"/>
              <a:chOff x="8521512" y="4051011"/>
              <a:chExt cx="1402316" cy="570475"/>
            </a:xfrm>
          </p:grpSpPr>
          <p:grpSp>
            <p:nvGrpSpPr>
              <p:cNvPr id="563" name="Group 562">
                <a:extLst>
                  <a:ext uri="{FF2B5EF4-FFF2-40B4-BE49-F238E27FC236}">
                    <a16:creationId xmlns:a16="http://schemas.microsoft.com/office/drawing/2014/main" id="{32039181-2294-4AC1-9746-CD20FC572ED5}"/>
                  </a:ext>
                </a:extLst>
              </p:cNvPr>
              <p:cNvGrpSpPr/>
              <p:nvPr/>
            </p:nvGrpSpPr>
            <p:grpSpPr>
              <a:xfrm>
                <a:off x="9422606" y="4051011"/>
                <a:ext cx="501222" cy="570475"/>
                <a:chOff x="9365707" y="2403475"/>
                <a:chExt cx="511272" cy="581914"/>
              </a:xfrm>
            </p:grpSpPr>
            <p:grpSp>
              <p:nvGrpSpPr>
                <p:cNvPr id="600" name="Group 599">
                  <a:extLst>
                    <a:ext uri="{FF2B5EF4-FFF2-40B4-BE49-F238E27FC236}">
                      <a16:creationId xmlns:a16="http://schemas.microsoft.com/office/drawing/2014/main" id="{B03FDFAD-A138-4EE0-94F2-E0C5CA4AFA41}"/>
                    </a:ext>
                  </a:extLst>
                </p:cNvPr>
                <p:cNvGrpSpPr>
                  <a:grpSpLocks noChangeAspect="1"/>
                </p:cNvGrpSpPr>
                <p:nvPr/>
              </p:nvGrpSpPr>
              <p:grpSpPr>
                <a:xfrm>
                  <a:off x="9365707" y="2403475"/>
                  <a:ext cx="365760" cy="435864"/>
                  <a:chOff x="5477764" y="5013499"/>
                  <a:chExt cx="268565" cy="320040"/>
                </a:xfrm>
              </p:grpSpPr>
              <p:grpSp>
                <p:nvGrpSpPr>
                  <p:cNvPr id="606" name="Group 605">
                    <a:extLst>
                      <a:ext uri="{FF2B5EF4-FFF2-40B4-BE49-F238E27FC236}">
                        <a16:creationId xmlns:a16="http://schemas.microsoft.com/office/drawing/2014/main" id="{D04A66FF-8A58-421C-A4A1-04EB98A364A2}"/>
                      </a:ext>
                    </a:extLst>
                  </p:cNvPr>
                  <p:cNvGrpSpPr/>
                  <p:nvPr/>
                </p:nvGrpSpPr>
                <p:grpSpPr>
                  <a:xfrm>
                    <a:off x="5477764" y="5013499"/>
                    <a:ext cx="268565" cy="320040"/>
                    <a:chOff x="5477764" y="5010341"/>
                    <a:chExt cx="268565" cy="320040"/>
                  </a:xfrm>
                </p:grpSpPr>
                <p:sp>
                  <p:nvSpPr>
                    <p:cNvPr id="611" name="Freeform 5">
                      <a:extLst>
                        <a:ext uri="{FF2B5EF4-FFF2-40B4-BE49-F238E27FC236}">
                          <a16:creationId xmlns:a16="http://schemas.microsoft.com/office/drawing/2014/main" id="{0F7A868C-7325-48C0-8ADD-638BFAEFE375}"/>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612" name="Group 611">
                      <a:extLst>
                        <a:ext uri="{FF2B5EF4-FFF2-40B4-BE49-F238E27FC236}">
                          <a16:creationId xmlns:a16="http://schemas.microsoft.com/office/drawing/2014/main" id="{5A2B7EBF-AE96-44D9-87F6-935E16B03F13}"/>
                        </a:ext>
                      </a:extLst>
                    </p:cNvPr>
                    <p:cNvGrpSpPr/>
                    <p:nvPr/>
                  </p:nvGrpSpPr>
                  <p:grpSpPr>
                    <a:xfrm>
                      <a:off x="5518161" y="5046557"/>
                      <a:ext cx="187770" cy="208407"/>
                      <a:chOff x="5513643" y="5046557"/>
                      <a:chExt cx="187770" cy="208407"/>
                    </a:xfrm>
                    <a:solidFill>
                      <a:srgbClr val="0078D3"/>
                    </a:solidFill>
                  </p:grpSpPr>
                  <p:sp>
                    <p:nvSpPr>
                      <p:cNvPr id="613" name="Oval 612">
                        <a:extLst>
                          <a:ext uri="{FF2B5EF4-FFF2-40B4-BE49-F238E27FC236}">
                            <a16:creationId xmlns:a16="http://schemas.microsoft.com/office/drawing/2014/main" id="{CC0FE46F-3A94-4221-93BD-23215485EF04}"/>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4" name="Oval 613">
                        <a:extLst>
                          <a:ext uri="{FF2B5EF4-FFF2-40B4-BE49-F238E27FC236}">
                            <a16:creationId xmlns:a16="http://schemas.microsoft.com/office/drawing/2014/main" id="{E3A8FE65-2122-4317-973A-44B3D588304F}"/>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5" name="Oval 614">
                        <a:extLst>
                          <a:ext uri="{FF2B5EF4-FFF2-40B4-BE49-F238E27FC236}">
                            <a16:creationId xmlns:a16="http://schemas.microsoft.com/office/drawing/2014/main" id="{458C57CF-DEAD-4810-8B1A-163DD4C2FD88}"/>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6" name="Oval 615">
                        <a:extLst>
                          <a:ext uri="{FF2B5EF4-FFF2-40B4-BE49-F238E27FC236}">
                            <a16:creationId xmlns:a16="http://schemas.microsoft.com/office/drawing/2014/main" id="{70ED005D-9BEE-47F1-98DE-EEA272E86BBA}"/>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607" name="Group 606">
                    <a:extLst>
                      <a:ext uri="{FF2B5EF4-FFF2-40B4-BE49-F238E27FC236}">
                        <a16:creationId xmlns:a16="http://schemas.microsoft.com/office/drawing/2014/main" id="{777DB26B-F0C1-42CF-873B-7006C4BFFDC4}"/>
                      </a:ext>
                    </a:extLst>
                  </p:cNvPr>
                  <p:cNvGrpSpPr/>
                  <p:nvPr/>
                </p:nvGrpSpPr>
                <p:grpSpPr>
                  <a:xfrm>
                    <a:off x="5571787" y="5284616"/>
                    <a:ext cx="80519" cy="48923"/>
                    <a:chOff x="5884568" y="5297481"/>
                    <a:chExt cx="80519" cy="48923"/>
                  </a:xfrm>
                </p:grpSpPr>
                <p:sp>
                  <p:nvSpPr>
                    <p:cNvPr id="608" name="Line 7">
                      <a:extLst>
                        <a:ext uri="{FF2B5EF4-FFF2-40B4-BE49-F238E27FC236}">
                          <a16:creationId xmlns:a16="http://schemas.microsoft.com/office/drawing/2014/main" id="{4AF80FC1-650C-425D-A804-30174B65DFE7}"/>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609" name="Line 8">
                      <a:extLst>
                        <a:ext uri="{FF2B5EF4-FFF2-40B4-BE49-F238E27FC236}">
                          <a16:creationId xmlns:a16="http://schemas.microsoft.com/office/drawing/2014/main" id="{12BEDB42-9EEC-4CED-B709-9F408B13E743}"/>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610" name="Line 9">
                      <a:extLst>
                        <a:ext uri="{FF2B5EF4-FFF2-40B4-BE49-F238E27FC236}">
                          <a16:creationId xmlns:a16="http://schemas.microsoft.com/office/drawing/2014/main" id="{B970D909-E216-45CB-A588-437D50DDD0E8}"/>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601" name="Group 600">
                  <a:extLst>
                    <a:ext uri="{FF2B5EF4-FFF2-40B4-BE49-F238E27FC236}">
                      <a16:creationId xmlns:a16="http://schemas.microsoft.com/office/drawing/2014/main" id="{8EDBC325-5C52-4E76-8ECC-EA5F1182B18F}"/>
                    </a:ext>
                  </a:extLst>
                </p:cNvPr>
                <p:cNvGrpSpPr/>
                <p:nvPr/>
              </p:nvGrpSpPr>
              <p:grpSpPr>
                <a:xfrm>
                  <a:off x="9483884" y="2693289"/>
                  <a:ext cx="393095" cy="292100"/>
                  <a:chOff x="9483884" y="2693289"/>
                  <a:chExt cx="393095" cy="292100"/>
                </a:xfrm>
              </p:grpSpPr>
              <p:sp>
                <p:nvSpPr>
                  <p:cNvPr id="602" name="Rectangle: Rounded Corners 601">
                    <a:extLst>
                      <a:ext uri="{FF2B5EF4-FFF2-40B4-BE49-F238E27FC236}">
                        <a16:creationId xmlns:a16="http://schemas.microsoft.com/office/drawing/2014/main" id="{64E0B34E-C6D4-4A6A-B57F-5D015A44901E}"/>
                      </a:ext>
                    </a:extLst>
                  </p:cNvPr>
                  <p:cNvSpPr/>
                  <p:nvPr/>
                </p:nvSpPr>
                <p:spPr bwMode="auto">
                  <a:xfrm>
                    <a:off x="9483884"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3" name="Group 602">
                    <a:extLst>
                      <a:ext uri="{FF2B5EF4-FFF2-40B4-BE49-F238E27FC236}">
                        <a16:creationId xmlns:a16="http://schemas.microsoft.com/office/drawing/2014/main" id="{46CC842D-0CD9-4333-B903-1EB5A3B8DCEB}"/>
                      </a:ext>
                    </a:extLst>
                  </p:cNvPr>
                  <p:cNvGrpSpPr/>
                  <p:nvPr/>
                </p:nvGrpSpPr>
                <p:grpSpPr>
                  <a:xfrm>
                    <a:off x="9544505" y="2756136"/>
                    <a:ext cx="271853" cy="187577"/>
                    <a:chOff x="9525948" y="2756136"/>
                    <a:chExt cx="271853" cy="187577"/>
                  </a:xfrm>
                </p:grpSpPr>
                <p:sp>
                  <p:nvSpPr>
                    <p:cNvPr id="604" name="Freeform 1018">
                      <a:extLst>
                        <a:ext uri="{FF2B5EF4-FFF2-40B4-BE49-F238E27FC236}">
                          <a16:creationId xmlns:a16="http://schemas.microsoft.com/office/drawing/2014/main" id="{A6BE7923-C17A-405A-BD87-9454348DE8EE}"/>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605" name="Freeform 1018">
                      <a:extLst>
                        <a:ext uri="{FF2B5EF4-FFF2-40B4-BE49-F238E27FC236}">
                          <a16:creationId xmlns:a16="http://schemas.microsoft.com/office/drawing/2014/main" id="{C3B6088D-41EE-4289-8F03-E4FC40664A50}"/>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nvGrpSpPr>
              <p:cNvPr id="564" name="Group 563">
                <a:extLst>
                  <a:ext uri="{FF2B5EF4-FFF2-40B4-BE49-F238E27FC236}">
                    <a16:creationId xmlns:a16="http://schemas.microsoft.com/office/drawing/2014/main" id="{D4A815A6-3C74-4001-BD38-3F8490B598B8}"/>
                  </a:ext>
                </a:extLst>
              </p:cNvPr>
              <p:cNvGrpSpPr/>
              <p:nvPr/>
            </p:nvGrpSpPr>
            <p:grpSpPr>
              <a:xfrm>
                <a:off x="8969726" y="4051011"/>
                <a:ext cx="501222" cy="570475"/>
                <a:chOff x="9365707" y="2403475"/>
                <a:chExt cx="511272" cy="581914"/>
              </a:xfrm>
            </p:grpSpPr>
            <p:grpSp>
              <p:nvGrpSpPr>
                <p:cNvPr id="583" name="Group 582">
                  <a:extLst>
                    <a:ext uri="{FF2B5EF4-FFF2-40B4-BE49-F238E27FC236}">
                      <a16:creationId xmlns:a16="http://schemas.microsoft.com/office/drawing/2014/main" id="{940C0016-D8EA-4CDA-8242-70EB2280E679}"/>
                    </a:ext>
                  </a:extLst>
                </p:cNvPr>
                <p:cNvGrpSpPr>
                  <a:grpSpLocks noChangeAspect="1"/>
                </p:cNvGrpSpPr>
                <p:nvPr/>
              </p:nvGrpSpPr>
              <p:grpSpPr>
                <a:xfrm>
                  <a:off x="9365707" y="2403475"/>
                  <a:ext cx="365760" cy="435864"/>
                  <a:chOff x="5477764" y="5013499"/>
                  <a:chExt cx="268565" cy="320040"/>
                </a:xfrm>
              </p:grpSpPr>
              <p:grpSp>
                <p:nvGrpSpPr>
                  <p:cNvPr id="589" name="Group 588">
                    <a:extLst>
                      <a:ext uri="{FF2B5EF4-FFF2-40B4-BE49-F238E27FC236}">
                        <a16:creationId xmlns:a16="http://schemas.microsoft.com/office/drawing/2014/main" id="{6246D7D7-2A5F-454D-9ACC-2CD7E993F4F8}"/>
                      </a:ext>
                    </a:extLst>
                  </p:cNvPr>
                  <p:cNvGrpSpPr/>
                  <p:nvPr/>
                </p:nvGrpSpPr>
                <p:grpSpPr>
                  <a:xfrm>
                    <a:off x="5477764" y="5013499"/>
                    <a:ext cx="268565" cy="320040"/>
                    <a:chOff x="5477764" y="5010341"/>
                    <a:chExt cx="268565" cy="320040"/>
                  </a:xfrm>
                </p:grpSpPr>
                <p:sp>
                  <p:nvSpPr>
                    <p:cNvPr id="594" name="Freeform 5">
                      <a:extLst>
                        <a:ext uri="{FF2B5EF4-FFF2-40B4-BE49-F238E27FC236}">
                          <a16:creationId xmlns:a16="http://schemas.microsoft.com/office/drawing/2014/main" id="{31C72542-1209-465F-8033-FF775FAB2BEA}"/>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595" name="Group 594">
                      <a:extLst>
                        <a:ext uri="{FF2B5EF4-FFF2-40B4-BE49-F238E27FC236}">
                          <a16:creationId xmlns:a16="http://schemas.microsoft.com/office/drawing/2014/main" id="{D3D96608-BA99-4C58-8E07-0C203227ED6D}"/>
                        </a:ext>
                      </a:extLst>
                    </p:cNvPr>
                    <p:cNvGrpSpPr/>
                    <p:nvPr/>
                  </p:nvGrpSpPr>
                  <p:grpSpPr>
                    <a:xfrm>
                      <a:off x="5518161" y="5046557"/>
                      <a:ext cx="187770" cy="208407"/>
                      <a:chOff x="5513643" y="5046557"/>
                      <a:chExt cx="187770" cy="208407"/>
                    </a:xfrm>
                    <a:solidFill>
                      <a:srgbClr val="0078D3"/>
                    </a:solidFill>
                  </p:grpSpPr>
                  <p:sp>
                    <p:nvSpPr>
                      <p:cNvPr id="596" name="Oval 595">
                        <a:extLst>
                          <a:ext uri="{FF2B5EF4-FFF2-40B4-BE49-F238E27FC236}">
                            <a16:creationId xmlns:a16="http://schemas.microsoft.com/office/drawing/2014/main" id="{819A7D29-7398-4591-9922-F85290D644D1}"/>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7" name="Oval 596">
                        <a:extLst>
                          <a:ext uri="{FF2B5EF4-FFF2-40B4-BE49-F238E27FC236}">
                            <a16:creationId xmlns:a16="http://schemas.microsoft.com/office/drawing/2014/main" id="{58E9E97F-F5F6-4795-9F12-64457A843E6B}"/>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8" name="Oval 597">
                        <a:extLst>
                          <a:ext uri="{FF2B5EF4-FFF2-40B4-BE49-F238E27FC236}">
                            <a16:creationId xmlns:a16="http://schemas.microsoft.com/office/drawing/2014/main" id="{5351E8BE-B044-4CFD-A86F-395BF91BB30E}"/>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9" name="Oval 598">
                        <a:extLst>
                          <a:ext uri="{FF2B5EF4-FFF2-40B4-BE49-F238E27FC236}">
                            <a16:creationId xmlns:a16="http://schemas.microsoft.com/office/drawing/2014/main" id="{A5FDEBC3-1219-48C6-8179-95CC17169941}"/>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90" name="Group 589">
                    <a:extLst>
                      <a:ext uri="{FF2B5EF4-FFF2-40B4-BE49-F238E27FC236}">
                        <a16:creationId xmlns:a16="http://schemas.microsoft.com/office/drawing/2014/main" id="{A6A247FC-2BCE-4861-A576-C6E1B5A5582F}"/>
                      </a:ext>
                    </a:extLst>
                  </p:cNvPr>
                  <p:cNvGrpSpPr/>
                  <p:nvPr/>
                </p:nvGrpSpPr>
                <p:grpSpPr>
                  <a:xfrm>
                    <a:off x="5571787" y="5284616"/>
                    <a:ext cx="80519" cy="48923"/>
                    <a:chOff x="5884568" y="5297481"/>
                    <a:chExt cx="80519" cy="48923"/>
                  </a:xfrm>
                </p:grpSpPr>
                <p:sp>
                  <p:nvSpPr>
                    <p:cNvPr id="591" name="Line 7">
                      <a:extLst>
                        <a:ext uri="{FF2B5EF4-FFF2-40B4-BE49-F238E27FC236}">
                          <a16:creationId xmlns:a16="http://schemas.microsoft.com/office/drawing/2014/main" id="{145A7CD9-8F98-49A7-8B5C-067BD671B9CD}"/>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592" name="Line 8">
                      <a:extLst>
                        <a:ext uri="{FF2B5EF4-FFF2-40B4-BE49-F238E27FC236}">
                          <a16:creationId xmlns:a16="http://schemas.microsoft.com/office/drawing/2014/main" id="{DC40EA95-8C44-45B8-A6F5-6A0DEB1D9D8F}"/>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593" name="Line 9">
                      <a:extLst>
                        <a:ext uri="{FF2B5EF4-FFF2-40B4-BE49-F238E27FC236}">
                          <a16:creationId xmlns:a16="http://schemas.microsoft.com/office/drawing/2014/main" id="{61FC95E6-9F77-416B-BA19-CD82257527C6}"/>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584" name="Group 583">
                  <a:extLst>
                    <a:ext uri="{FF2B5EF4-FFF2-40B4-BE49-F238E27FC236}">
                      <a16:creationId xmlns:a16="http://schemas.microsoft.com/office/drawing/2014/main" id="{430D6C0F-2BB7-46FF-BEA4-8D56C7FE9C6F}"/>
                    </a:ext>
                  </a:extLst>
                </p:cNvPr>
                <p:cNvGrpSpPr/>
                <p:nvPr/>
              </p:nvGrpSpPr>
              <p:grpSpPr>
                <a:xfrm>
                  <a:off x="9483884" y="2693289"/>
                  <a:ext cx="393095" cy="292100"/>
                  <a:chOff x="9483884" y="2693289"/>
                  <a:chExt cx="393095" cy="292100"/>
                </a:xfrm>
              </p:grpSpPr>
              <p:sp>
                <p:nvSpPr>
                  <p:cNvPr id="585" name="Rectangle: Rounded Corners 584">
                    <a:extLst>
                      <a:ext uri="{FF2B5EF4-FFF2-40B4-BE49-F238E27FC236}">
                        <a16:creationId xmlns:a16="http://schemas.microsoft.com/office/drawing/2014/main" id="{9F25D9CA-695C-4D06-9E2F-7915F0F386F1}"/>
                      </a:ext>
                    </a:extLst>
                  </p:cNvPr>
                  <p:cNvSpPr/>
                  <p:nvPr/>
                </p:nvSpPr>
                <p:spPr bwMode="auto">
                  <a:xfrm>
                    <a:off x="9483884"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6" name="Group 585">
                    <a:extLst>
                      <a:ext uri="{FF2B5EF4-FFF2-40B4-BE49-F238E27FC236}">
                        <a16:creationId xmlns:a16="http://schemas.microsoft.com/office/drawing/2014/main" id="{58A878C8-143E-4135-912B-6C0F1A57D5CB}"/>
                      </a:ext>
                    </a:extLst>
                  </p:cNvPr>
                  <p:cNvGrpSpPr/>
                  <p:nvPr/>
                </p:nvGrpSpPr>
                <p:grpSpPr>
                  <a:xfrm>
                    <a:off x="9544505" y="2756136"/>
                    <a:ext cx="271853" cy="187577"/>
                    <a:chOff x="9525948" y="2756136"/>
                    <a:chExt cx="271853" cy="187577"/>
                  </a:xfrm>
                </p:grpSpPr>
                <p:sp>
                  <p:nvSpPr>
                    <p:cNvPr id="587" name="Freeform 1018">
                      <a:extLst>
                        <a:ext uri="{FF2B5EF4-FFF2-40B4-BE49-F238E27FC236}">
                          <a16:creationId xmlns:a16="http://schemas.microsoft.com/office/drawing/2014/main" id="{9972D21D-1C19-4FB3-B5DB-FFF21BB44924}"/>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588" name="Freeform 1018">
                      <a:extLst>
                        <a:ext uri="{FF2B5EF4-FFF2-40B4-BE49-F238E27FC236}">
                          <a16:creationId xmlns:a16="http://schemas.microsoft.com/office/drawing/2014/main" id="{46E8EA71-17ED-4AA3-821C-BF2F3031D2FF}"/>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nvGrpSpPr>
              <p:cNvPr id="565" name="Group 564">
                <a:extLst>
                  <a:ext uri="{FF2B5EF4-FFF2-40B4-BE49-F238E27FC236}">
                    <a16:creationId xmlns:a16="http://schemas.microsoft.com/office/drawing/2014/main" id="{FE68E562-7889-471E-AA2A-1790DDBB287D}"/>
                  </a:ext>
                </a:extLst>
              </p:cNvPr>
              <p:cNvGrpSpPr/>
              <p:nvPr/>
            </p:nvGrpSpPr>
            <p:grpSpPr>
              <a:xfrm>
                <a:off x="8521512" y="4051011"/>
                <a:ext cx="501221" cy="570475"/>
                <a:chOff x="9365707" y="2403475"/>
                <a:chExt cx="511271" cy="581914"/>
              </a:xfrm>
            </p:grpSpPr>
            <p:grpSp>
              <p:nvGrpSpPr>
                <p:cNvPr id="566" name="Group 565">
                  <a:extLst>
                    <a:ext uri="{FF2B5EF4-FFF2-40B4-BE49-F238E27FC236}">
                      <a16:creationId xmlns:a16="http://schemas.microsoft.com/office/drawing/2014/main" id="{2B969C38-2521-4A8B-92D5-8A87C70152E9}"/>
                    </a:ext>
                  </a:extLst>
                </p:cNvPr>
                <p:cNvGrpSpPr>
                  <a:grpSpLocks noChangeAspect="1"/>
                </p:cNvGrpSpPr>
                <p:nvPr/>
              </p:nvGrpSpPr>
              <p:grpSpPr>
                <a:xfrm>
                  <a:off x="9365707" y="2403475"/>
                  <a:ext cx="365760" cy="435864"/>
                  <a:chOff x="5477764" y="5013499"/>
                  <a:chExt cx="268565" cy="320040"/>
                </a:xfrm>
              </p:grpSpPr>
              <p:grpSp>
                <p:nvGrpSpPr>
                  <p:cNvPr id="572" name="Group 571">
                    <a:extLst>
                      <a:ext uri="{FF2B5EF4-FFF2-40B4-BE49-F238E27FC236}">
                        <a16:creationId xmlns:a16="http://schemas.microsoft.com/office/drawing/2014/main" id="{1CA5E84B-D881-4B0E-BEF6-1C12FBA09D87}"/>
                      </a:ext>
                    </a:extLst>
                  </p:cNvPr>
                  <p:cNvGrpSpPr/>
                  <p:nvPr/>
                </p:nvGrpSpPr>
                <p:grpSpPr>
                  <a:xfrm>
                    <a:off x="5477764" y="5013499"/>
                    <a:ext cx="268565" cy="320040"/>
                    <a:chOff x="5477764" y="5010341"/>
                    <a:chExt cx="268565" cy="320040"/>
                  </a:xfrm>
                </p:grpSpPr>
                <p:sp>
                  <p:nvSpPr>
                    <p:cNvPr id="577" name="Freeform 5">
                      <a:extLst>
                        <a:ext uri="{FF2B5EF4-FFF2-40B4-BE49-F238E27FC236}">
                          <a16:creationId xmlns:a16="http://schemas.microsoft.com/office/drawing/2014/main" id="{3D3DBC8D-59C1-45C5-81AA-FC6FC1FDF14C}"/>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578" name="Group 577">
                      <a:extLst>
                        <a:ext uri="{FF2B5EF4-FFF2-40B4-BE49-F238E27FC236}">
                          <a16:creationId xmlns:a16="http://schemas.microsoft.com/office/drawing/2014/main" id="{0AA44775-1419-4708-9062-F5BB71AF56DE}"/>
                        </a:ext>
                      </a:extLst>
                    </p:cNvPr>
                    <p:cNvGrpSpPr/>
                    <p:nvPr/>
                  </p:nvGrpSpPr>
                  <p:grpSpPr>
                    <a:xfrm>
                      <a:off x="5518161" y="5046557"/>
                      <a:ext cx="187770" cy="208407"/>
                      <a:chOff x="5513643" y="5046557"/>
                      <a:chExt cx="187770" cy="208407"/>
                    </a:xfrm>
                    <a:solidFill>
                      <a:srgbClr val="0078D3"/>
                    </a:solidFill>
                  </p:grpSpPr>
                  <p:sp>
                    <p:nvSpPr>
                      <p:cNvPr id="579" name="Oval 578">
                        <a:extLst>
                          <a:ext uri="{FF2B5EF4-FFF2-40B4-BE49-F238E27FC236}">
                            <a16:creationId xmlns:a16="http://schemas.microsoft.com/office/drawing/2014/main" id="{DE86AA03-5FD5-47D3-B4D7-6114A8E4192D}"/>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0" name="Oval 579">
                        <a:extLst>
                          <a:ext uri="{FF2B5EF4-FFF2-40B4-BE49-F238E27FC236}">
                            <a16:creationId xmlns:a16="http://schemas.microsoft.com/office/drawing/2014/main" id="{6129DBDB-C425-428B-AEC0-B6C8BF28D6A8}"/>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1" name="Oval 580">
                        <a:extLst>
                          <a:ext uri="{FF2B5EF4-FFF2-40B4-BE49-F238E27FC236}">
                            <a16:creationId xmlns:a16="http://schemas.microsoft.com/office/drawing/2014/main" id="{BA2BD1F9-0C23-429E-9357-95A720685DD7}"/>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2" name="Oval 581">
                        <a:extLst>
                          <a:ext uri="{FF2B5EF4-FFF2-40B4-BE49-F238E27FC236}">
                            <a16:creationId xmlns:a16="http://schemas.microsoft.com/office/drawing/2014/main" id="{36B92B37-D691-4B6B-96ED-D9106D1AD03B}"/>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73" name="Group 572">
                    <a:extLst>
                      <a:ext uri="{FF2B5EF4-FFF2-40B4-BE49-F238E27FC236}">
                        <a16:creationId xmlns:a16="http://schemas.microsoft.com/office/drawing/2014/main" id="{E6CE3A00-5E0F-4912-8244-677A70B6F165}"/>
                      </a:ext>
                    </a:extLst>
                  </p:cNvPr>
                  <p:cNvGrpSpPr/>
                  <p:nvPr/>
                </p:nvGrpSpPr>
                <p:grpSpPr>
                  <a:xfrm>
                    <a:off x="5571787" y="5284616"/>
                    <a:ext cx="80519" cy="48923"/>
                    <a:chOff x="5884568" y="5297481"/>
                    <a:chExt cx="80519" cy="48923"/>
                  </a:xfrm>
                </p:grpSpPr>
                <p:sp>
                  <p:nvSpPr>
                    <p:cNvPr id="574" name="Line 7">
                      <a:extLst>
                        <a:ext uri="{FF2B5EF4-FFF2-40B4-BE49-F238E27FC236}">
                          <a16:creationId xmlns:a16="http://schemas.microsoft.com/office/drawing/2014/main" id="{288F9654-5C61-4353-8F97-8342D50F283A}"/>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575" name="Line 8">
                      <a:extLst>
                        <a:ext uri="{FF2B5EF4-FFF2-40B4-BE49-F238E27FC236}">
                          <a16:creationId xmlns:a16="http://schemas.microsoft.com/office/drawing/2014/main" id="{A02C80D9-6B2A-4A20-8829-9C1958CAE16C}"/>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576" name="Line 9">
                      <a:extLst>
                        <a:ext uri="{FF2B5EF4-FFF2-40B4-BE49-F238E27FC236}">
                          <a16:creationId xmlns:a16="http://schemas.microsoft.com/office/drawing/2014/main" id="{B3A05D94-CF9C-4973-A8C6-D4A34672B696}"/>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567" name="Group 566">
                  <a:extLst>
                    <a:ext uri="{FF2B5EF4-FFF2-40B4-BE49-F238E27FC236}">
                      <a16:creationId xmlns:a16="http://schemas.microsoft.com/office/drawing/2014/main" id="{DA778D7E-5859-496B-9166-B71BD5F5DFAC}"/>
                    </a:ext>
                  </a:extLst>
                </p:cNvPr>
                <p:cNvGrpSpPr/>
                <p:nvPr/>
              </p:nvGrpSpPr>
              <p:grpSpPr>
                <a:xfrm>
                  <a:off x="9483883" y="2693289"/>
                  <a:ext cx="393095" cy="292100"/>
                  <a:chOff x="9483883" y="2693289"/>
                  <a:chExt cx="393095" cy="292100"/>
                </a:xfrm>
              </p:grpSpPr>
              <p:sp>
                <p:nvSpPr>
                  <p:cNvPr id="568" name="Rectangle: Rounded Corners 567">
                    <a:extLst>
                      <a:ext uri="{FF2B5EF4-FFF2-40B4-BE49-F238E27FC236}">
                        <a16:creationId xmlns:a16="http://schemas.microsoft.com/office/drawing/2014/main" id="{65F0BE5A-FF22-44F6-97A7-881A3520D6A4}"/>
                      </a:ext>
                    </a:extLst>
                  </p:cNvPr>
                  <p:cNvSpPr/>
                  <p:nvPr/>
                </p:nvSpPr>
                <p:spPr bwMode="auto">
                  <a:xfrm>
                    <a:off x="9483883"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69" name="Group 568">
                    <a:extLst>
                      <a:ext uri="{FF2B5EF4-FFF2-40B4-BE49-F238E27FC236}">
                        <a16:creationId xmlns:a16="http://schemas.microsoft.com/office/drawing/2014/main" id="{C76B4BD5-D9AC-4475-AD42-72FB3D008A23}"/>
                      </a:ext>
                    </a:extLst>
                  </p:cNvPr>
                  <p:cNvGrpSpPr/>
                  <p:nvPr/>
                </p:nvGrpSpPr>
                <p:grpSpPr>
                  <a:xfrm>
                    <a:off x="9544505" y="2756136"/>
                    <a:ext cx="271853" cy="187577"/>
                    <a:chOff x="9525948" y="2756136"/>
                    <a:chExt cx="271853" cy="187577"/>
                  </a:xfrm>
                </p:grpSpPr>
                <p:sp>
                  <p:nvSpPr>
                    <p:cNvPr id="570" name="Freeform 1018">
                      <a:extLst>
                        <a:ext uri="{FF2B5EF4-FFF2-40B4-BE49-F238E27FC236}">
                          <a16:creationId xmlns:a16="http://schemas.microsoft.com/office/drawing/2014/main" id="{40E5D90D-FD30-4684-889E-941BAEB8DCB4}"/>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571" name="Freeform 1018">
                      <a:extLst>
                        <a:ext uri="{FF2B5EF4-FFF2-40B4-BE49-F238E27FC236}">
                          <a16:creationId xmlns:a16="http://schemas.microsoft.com/office/drawing/2014/main" id="{90292A00-A0BA-493E-80F9-4F60D33C3F0F}"/>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grpSp>
      <p:sp>
        <p:nvSpPr>
          <p:cNvPr id="617" name="Rectangle 616">
            <a:extLst>
              <a:ext uri="{FF2B5EF4-FFF2-40B4-BE49-F238E27FC236}">
                <a16:creationId xmlns:a16="http://schemas.microsoft.com/office/drawing/2014/main" id="{F558E9D6-B0B1-4493-B844-851438BFD046}"/>
              </a:ext>
              <a:ext uri="{C183D7F6-B498-43B3-948B-1728B52AA6E4}">
                <adec:decorative xmlns:adec="http://schemas.microsoft.com/office/drawing/2017/decorative" val="1"/>
              </a:ext>
            </a:extLst>
          </p:cNvPr>
          <p:cNvSpPr/>
          <p:nvPr/>
        </p:nvSpPr>
        <p:spPr>
          <a:xfrm>
            <a:off x="584200" y="4726343"/>
            <a:ext cx="8224009" cy="1164380"/>
          </a:xfrm>
          <a:prstGeom prst="rect">
            <a:avLst/>
          </a:pr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618" name="Group 617">
            <a:extLst>
              <a:ext uri="{FF2B5EF4-FFF2-40B4-BE49-F238E27FC236}">
                <a16:creationId xmlns:a16="http://schemas.microsoft.com/office/drawing/2014/main" id="{CAA06239-DF0D-46F1-AE29-DEE0077E030C}"/>
              </a:ext>
              <a:ext uri="{C183D7F6-B498-43B3-948B-1728B52AA6E4}">
                <adec:decorative xmlns:adec="http://schemas.microsoft.com/office/drawing/2017/decorative" val="1"/>
              </a:ext>
            </a:extLst>
          </p:cNvPr>
          <p:cNvGrpSpPr>
            <a:grpSpLocks/>
          </p:cNvGrpSpPr>
          <p:nvPr/>
        </p:nvGrpSpPr>
        <p:grpSpPr>
          <a:xfrm>
            <a:off x="7516860" y="1898583"/>
            <a:ext cx="775545" cy="775545"/>
            <a:chOff x="7263210" y="2164792"/>
            <a:chExt cx="875080" cy="849308"/>
          </a:xfrm>
        </p:grpSpPr>
        <p:sp>
          <p:nvSpPr>
            <p:cNvPr id="619" name="Oval 618">
              <a:extLst>
                <a:ext uri="{FF2B5EF4-FFF2-40B4-BE49-F238E27FC236}">
                  <a16:creationId xmlns:a16="http://schemas.microsoft.com/office/drawing/2014/main" id="{6F45B5D9-C585-4BA7-81C1-C5CFFE1FE484}"/>
                </a:ext>
              </a:extLst>
            </p:cNvPr>
            <p:cNvSpPr/>
            <p:nvPr/>
          </p:nvSpPr>
          <p:spPr bwMode="auto">
            <a:xfrm>
              <a:off x="7263210" y="2164792"/>
              <a:ext cx="875080" cy="849308"/>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620" name="Group 619">
              <a:extLst>
                <a:ext uri="{FF2B5EF4-FFF2-40B4-BE49-F238E27FC236}">
                  <a16:creationId xmlns:a16="http://schemas.microsoft.com/office/drawing/2014/main" id="{52E30690-B150-4D73-AC8D-322AACAF3EF8}"/>
                </a:ext>
              </a:extLst>
            </p:cNvPr>
            <p:cNvGrpSpPr/>
            <p:nvPr/>
          </p:nvGrpSpPr>
          <p:grpSpPr>
            <a:xfrm flipH="1">
              <a:off x="7515635" y="2408394"/>
              <a:ext cx="370227" cy="360482"/>
              <a:chOff x="7659708" y="2518196"/>
              <a:chExt cx="370227" cy="360482"/>
            </a:xfrm>
            <a:solidFill>
              <a:schemeClr val="accent3"/>
            </a:solidFill>
          </p:grpSpPr>
          <p:grpSp>
            <p:nvGrpSpPr>
              <p:cNvPr id="621" name="Group 620">
                <a:extLst>
                  <a:ext uri="{FF2B5EF4-FFF2-40B4-BE49-F238E27FC236}">
                    <a16:creationId xmlns:a16="http://schemas.microsoft.com/office/drawing/2014/main" id="{BCD092A8-4BDA-4DB1-BBC4-1B4E18BCF83A}"/>
                  </a:ext>
                </a:extLst>
              </p:cNvPr>
              <p:cNvGrpSpPr/>
              <p:nvPr/>
            </p:nvGrpSpPr>
            <p:grpSpPr>
              <a:xfrm>
                <a:off x="7659708" y="2518196"/>
                <a:ext cx="370227" cy="91440"/>
                <a:chOff x="7913689" y="2368341"/>
                <a:chExt cx="370227" cy="91440"/>
              </a:xfrm>
              <a:grpFill/>
            </p:grpSpPr>
            <p:sp>
              <p:nvSpPr>
                <p:cNvPr id="636" name="Rectangle 635">
                  <a:extLst>
                    <a:ext uri="{FF2B5EF4-FFF2-40B4-BE49-F238E27FC236}">
                      <a16:creationId xmlns:a16="http://schemas.microsoft.com/office/drawing/2014/main" id="{D34A17DB-EC9C-46B4-804A-4DF75B0CF725}"/>
                    </a:ext>
                  </a:extLst>
                </p:cNvPr>
                <p:cNvSpPr/>
                <p:nvPr/>
              </p:nvSpPr>
              <p:spPr bwMode="auto">
                <a:xfrm>
                  <a:off x="7913689"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7" name="Rectangle 636">
                  <a:extLst>
                    <a:ext uri="{FF2B5EF4-FFF2-40B4-BE49-F238E27FC236}">
                      <a16:creationId xmlns:a16="http://schemas.microsoft.com/office/drawing/2014/main" id="{910DEF4D-8990-4E2C-B943-D1C78A7C6698}"/>
                    </a:ext>
                  </a:extLst>
                </p:cNvPr>
                <p:cNvSpPr/>
                <p:nvPr/>
              </p:nvSpPr>
              <p:spPr bwMode="auto">
                <a:xfrm>
                  <a:off x="8045431"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8" name="Rectangle 637">
                  <a:extLst>
                    <a:ext uri="{FF2B5EF4-FFF2-40B4-BE49-F238E27FC236}">
                      <a16:creationId xmlns:a16="http://schemas.microsoft.com/office/drawing/2014/main" id="{747D17E3-2C9F-4DAE-83F3-B8E55279BC91}"/>
                    </a:ext>
                  </a:extLst>
                </p:cNvPr>
                <p:cNvSpPr/>
                <p:nvPr/>
              </p:nvSpPr>
              <p:spPr bwMode="auto">
                <a:xfrm>
                  <a:off x="8177173"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9" name="Freeform: Shape 638">
                  <a:extLst>
                    <a:ext uri="{FF2B5EF4-FFF2-40B4-BE49-F238E27FC236}">
                      <a16:creationId xmlns:a16="http://schemas.microsoft.com/office/drawing/2014/main" id="{DBF28881-B676-4515-ADA4-53479049543C}"/>
                    </a:ext>
                  </a:extLst>
                </p:cNvPr>
                <p:cNvSpPr>
                  <a:spLocks noChangeAspect="1"/>
                </p:cNvSpPr>
                <p:nvPr/>
              </p:nvSpPr>
              <p:spPr bwMode="auto">
                <a:xfrm>
                  <a:off x="7956975"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0" name="Freeform: Shape 639">
                  <a:extLst>
                    <a:ext uri="{FF2B5EF4-FFF2-40B4-BE49-F238E27FC236}">
                      <a16:creationId xmlns:a16="http://schemas.microsoft.com/office/drawing/2014/main" id="{461BB871-C3BE-4881-A370-0ED04B1D7BBC}"/>
                    </a:ext>
                  </a:extLst>
                </p:cNvPr>
                <p:cNvSpPr>
                  <a:spLocks noChangeAspect="1"/>
                </p:cNvSpPr>
                <p:nvPr/>
              </p:nvSpPr>
              <p:spPr bwMode="auto">
                <a:xfrm>
                  <a:off x="8088718"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1" name="Freeform: Shape 640">
                  <a:extLst>
                    <a:ext uri="{FF2B5EF4-FFF2-40B4-BE49-F238E27FC236}">
                      <a16:creationId xmlns:a16="http://schemas.microsoft.com/office/drawing/2014/main" id="{5A62A417-B294-4EDA-821B-97A38AB7E614}"/>
                    </a:ext>
                  </a:extLst>
                </p:cNvPr>
                <p:cNvSpPr>
                  <a:spLocks noChangeAspect="1"/>
                </p:cNvSpPr>
                <p:nvPr/>
              </p:nvSpPr>
              <p:spPr bwMode="auto">
                <a:xfrm>
                  <a:off x="8220458"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622" name="Group 621">
                <a:extLst>
                  <a:ext uri="{FF2B5EF4-FFF2-40B4-BE49-F238E27FC236}">
                    <a16:creationId xmlns:a16="http://schemas.microsoft.com/office/drawing/2014/main" id="{815019B2-A90C-4F0A-844E-CC7CA8A1A094}"/>
                  </a:ext>
                </a:extLst>
              </p:cNvPr>
              <p:cNvGrpSpPr/>
              <p:nvPr/>
            </p:nvGrpSpPr>
            <p:grpSpPr>
              <a:xfrm flipH="1">
                <a:off x="7659708" y="2652717"/>
                <a:ext cx="370227" cy="91440"/>
                <a:chOff x="7913689" y="2470417"/>
                <a:chExt cx="370227" cy="91440"/>
              </a:xfrm>
              <a:grpFill/>
            </p:grpSpPr>
            <p:sp>
              <p:nvSpPr>
                <p:cNvPr id="630" name="Rectangle 629">
                  <a:extLst>
                    <a:ext uri="{FF2B5EF4-FFF2-40B4-BE49-F238E27FC236}">
                      <a16:creationId xmlns:a16="http://schemas.microsoft.com/office/drawing/2014/main" id="{C51BAD74-498F-4A36-A0AB-72B4DC1C6EF4}"/>
                    </a:ext>
                  </a:extLst>
                </p:cNvPr>
                <p:cNvSpPr/>
                <p:nvPr/>
              </p:nvSpPr>
              <p:spPr bwMode="auto">
                <a:xfrm>
                  <a:off x="7913689"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1" name="Rectangle 630">
                  <a:extLst>
                    <a:ext uri="{FF2B5EF4-FFF2-40B4-BE49-F238E27FC236}">
                      <a16:creationId xmlns:a16="http://schemas.microsoft.com/office/drawing/2014/main" id="{5BFF2918-81D3-45EF-96B0-915C75DFB517}"/>
                    </a:ext>
                  </a:extLst>
                </p:cNvPr>
                <p:cNvSpPr/>
                <p:nvPr/>
              </p:nvSpPr>
              <p:spPr bwMode="auto">
                <a:xfrm>
                  <a:off x="8045431"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2" name="Rectangle 631">
                  <a:extLst>
                    <a:ext uri="{FF2B5EF4-FFF2-40B4-BE49-F238E27FC236}">
                      <a16:creationId xmlns:a16="http://schemas.microsoft.com/office/drawing/2014/main" id="{98466AE3-E140-4969-A5DE-BB8407B4BB18}"/>
                    </a:ext>
                  </a:extLst>
                </p:cNvPr>
                <p:cNvSpPr/>
                <p:nvPr/>
              </p:nvSpPr>
              <p:spPr bwMode="auto">
                <a:xfrm>
                  <a:off x="8177173"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3" name="Freeform: Shape 632">
                  <a:extLst>
                    <a:ext uri="{FF2B5EF4-FFF2-40B4-BE49-F238E27FC236}">
                      <a16:creationId xmlns:a16="http://schemas.microsoft.com/office/drawing/2014/main" id="{BFA8EF3A-0DEC-44F2-B6D6-792F99275126}"/>
                    </a:ext>
                  </a:extLst>
                </p:cNvPr>
                <p:cNvSpPr>
                  <a:spLocks noChangeAspect="1"/>
                </p:cNvSpPr>
                <p:nvPr/>
              </p:nvSpPr>
              <p:spPr bwMode="auto">
                <a:xfrm>
                  <a:off x="7956975"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4" name="Freeform: Shape 633">
                  <a:extLst>
                    <a:ext uri="{FF2B5EF4-FFF2-40B4-BE49-F238E27FC236}">
                      <a16:creationId xmlns:a16="http://schemas.microsoft.com/office/drawing/2014/main" id="{812F6183-7322-4F93-8339-411BC1659FAA}"/>
                    </a:ext>
                  </a:extLst>
                </p:cNvPr>
                <p:cNvSpPr>
                  <a:spLocks noChangeAspect="1"/>
                </p:cNvSpPr>
                <p:nvPr/>
              </p:nvSpPr>
              <p:spPr bwMode="auto">
                <a:xfrm>
                  <a:off x="8088717"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5" name="Freeform: Shape 634">
                  <a:extLst>
                    <a:ext uri="{FF2B5EF4-FFF2-40B4-BE49-F238E27FC236}">
                      <a16:creationId xmlns:a16="http://schemas.microsoft.com/office/drawing/2014/main" id="{F7A7CD54-F306-4CF3-A453-EC17CEE63A58}"/>
                    </a:ext>
                  </a:extLst>
                </p:cNvPr>
                <p:cNvSpPr>
                  <a:spLocks noChangeAspect="1"/>
                </p:cNvSpPr>
                <p:nvPr/>
              </p:nvSpPr>
              <p:spPr bwMode="auto">
                <a:xfrm>
                  <a:off x="8220458"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623" name="Group 622">
                <a:extLst>
                  <a:ext uri="{FF2B5EF4-FFF2-40B4-BE49-F238E27FC236}">
                    <a16:creationId xmlns:a16="http://schemas.microsoft.com/office/drawing/2014/main" id="{882A341D-F61C-47F4-9DB3-2F78C84257E5}"/>
                  </a:ext>
                </a:extLst>
              </p:cNvPr>
              <p:cNvGrpSpPr/>
              <p:nvPr/>
            </p:nvGrpSpPr>
            <p:grpSpPr>
              <a:xfrm>
                <a:off x="7659708" y="2787238"/>
                <a:ext cx="370227" cy="91440"/>
                <a:chOff x="7913689" y="2637383"/>
                <a:chExt cx="370227" cy="91440"/>
              </a:xfrm>
              <a:grpFill/>
            </p:grpSpPr>
            <p:sp>
              <p:nvSpPr>
                <p:cNvPr id="624" name="Rectangle 623">
                  <a:extLst>
                    <a:ext uri="{FF2B5EF4-FFF2-40B4-BE49-F238E27FC236}">
                      <a16:creationId xmlns:a16="http://schemas.microsoft.com/office/drawing/2014/main" id="{7F01E3F1-1F5D-42F4-BE23-9DC7D99991D9}"/>
                    </a:ext>
                  </a:extLst>
                </p:cNvPr>
                <p:cNvSpPr/>
                <p:nvPr/>
              </p:nvSpPr>
              <p:spPr bwMode="auto">
                <a:xfrm>
                  <a:off x="7913689"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5" name="Rectangle 624">
                  <a:extLst>
                    <a:ext uri="{FF2B5EF4-FFF2-40B4-BE49-F238E27FC236}">
                      <a16:creationId xmlns:a16="http://schemas.microsoft.com/office/drawing/2014/main" id="{8E972D35-C022-487A-87C1-259A514834FB}"/>
                    </a:ext>
                  </a:extLst>
                </p:cNvPr>
                <p:cNvSpPr/>
                <p:nvPr/>
              </p:nvSpPr>
              <p:spPr bwMode="auto">
                <a:xfrm>
                  <a:off x="8045431"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6" name="Rectangle 625">
                  <a:extLst>
                    <a:ext uri="{FF2B5EF4-FFF2-40B4-BE49-F238E27FC236}">
                      <a16:creationId xmlns:a16="http://schemas.microsoft.com/office/drawing/2014/main" id="{DC1B22AD-803A-4AC7-B142-DFA4ED6C8442}"/>
                    </a:ext>
                  </a:extLst>
                </p:cNvPr>
                <p:cNvSpPr/>
                <p:nvPr/>
              </p:nvSpPr>
              <p:spPr bwMode="auto">
                <a:xfrm>
                  <a:off x="8177173"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7" name="Freeform: Shape 626">
                  <a:extLst>
                    <a:ext uri="{FF2B5EF4-FFF2-40B4-BE49-F238E27FC236}">
                      <a16:creationId xmlns:a16="http://schemas.microsoft.com/office/drawing/2014/main" id="{A576D07A-85AA-46E5-9A80-76C6F7960F8D}"/>
                    </a:ext>
                  </a:extLst>
                </p:cNvPr>
                <p:cNvSpPr>
                  <a:spLocks noChangeAspect="1"/>
                </p:cNvSpPr>
                <p:nvPr/>
              </p:nvSpPr>
              <p:spPr bwMode="auto">
                <a:xfrm>
                  <a:off x="7956975"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8" name="Freeform: Shape 627">
                  <a:extLst>
                    <a:ext uri="{FF2B5EF4-FFF2-40B4-BE49-F238E27FC236}">
                      <a16:creationId xmlns:a16="http://schemas.microsoft.com/office/drawing/2014/main" id="{CF5912D3-1C53-4734-B52F-C6188FF17ECF}"/>
                    </a:ext>
                  </a:extLst>
                </p:cNvPr>
                <p:cNvSpPr>
                  <a:spLocks noChangeAspect="1"/>
                </p:cNvSpPr>
                <p:nvPr/>
              </p:nvSpPr>
              <p:spPr bwMode="auto">
                <a:xfrm>
                  <a:off x="8088717"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9" name="Freeform: Shape 628">
                  <a:extLst>
                    <a:ext uri="{FF2B5EF4-FFF2-40B4-BE49-F238E27FC236}">
                      <a16:creationId xmlns:a16="http://schemas.microsoft.com/office/drawing/2014/main" id="{6BB30DCE-4CE1-4D5E-9C1E-00A409D009D7}"/>
                    </a:ext>
                  </a:extLst>
                </p:cNvPr>
                <p:cNvSpPr>
                  <a:spLocks noChangeAspect="1"/>
                </p:cNvSpPr>
                <p:nvPr/>
              </p:nvSpPr>
              <p:spPr bwMode="auto">
                <a:xfrm>
                  <a:off x="8220458"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grpSp>
        <p:nvGrpSpPr>
          <p:cNvPr id="642" name="Group 641">
            <a:extLst>
              <a:ext uri="{FF2B5EF4-FFF2-40B4-BE49-F238E27FC236}">
                <a16:creationId xmlns:a16="http://schemas.microsoft.com/office/drawing/2014/main" id="{170D572D-4DD6-4099-9F56-33E53821FB90}"/>
              </a:ext>
              <a:ext uri="{C183D7F6-B498-43B3-948B-1728B52AA6E4}">
                <adec:decorative xmlns:adec="http://schemas.microsoft.com/office/drawing/2017/decorative" val="1"/>
              </a:ext>
            </a:extLst>
          </p:cNvPr>
          <p:cNvGrpSpPr>
            <a:grpSpLocks/>
          </p:cNvGrpSpPr>
          <p:nvPr/>
        </p:nvGrpSpPr>
        <p:grpSpPr>
          <a:xfrm>
            <a:off x="1059961" y="1898583"/>
            <a:ext cx="775545" cy="775545"/>
            <a:chOff x="656425" y="2154308"/>
            <a:chExt cx="875079" cy="849309"/>
          </a:xfrm>
        </p:grpSpPr>
        <p:sp>
          <p:nvSpPr>
            <p:cNvPr id="643" name="Oval 642">
              <a:extLst>
                <a:ext uri="{FF2B5EF4-FFF2-40B4-BE49-F238E27FC236}">
                  <a16:creationId xmlns:a16="http://schemas.microsoft.com/office/drawing/2014/main" id="{663500A3-78FB-4A16-82A8-5DDC8E2E39CE}"/>
                </a:ext>
              </a:extLst>
            </p:cNvPr>
            <p:cNvSpPr/>
            <p:nvPr/>
          </p:nvSpPr>
          <p:spPr bwMode="auto">
            <a:xfrm>
              <a:off x="656425" y="2154308"/>
              <a:ext cx="875079" cy="849309"/>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644" name="AutoShape 112">
              <a:extLst>
                <a:ext uri="{FF2B5EF4-FFF2-40B4-BE49-F238E27FC236}">
                  <a16:creationId xmlns:a16="http://schemas.microsoft.com/office/drawing/2014/main" id="{F07F6CDF-5B35-46C9-93CF-39C8B3F62D64}"/>
                </a:ext>
              </a:extLst>
            </p:cNvPr>
            <p:cNvSpPr>
              <a:spLocks noChangeAspect="1" noChangeArrowheads="1" noTextEdit="1"/>
            </p:cNvSpPr>
            <p:nvPr/>
          </p:nvSpPr>
          <p:spPr bwMode="auto">
            <a:xfrm>
              <a:off x="838173" y="2349841"/>
              <a:ext cx="458242" cy="45824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45" name="Group 644">
              <a:extLst>
                <a:ext uri="{FF2B5EF4-FFF2-40B4-BE49-F238E27FC236}">
                  <a16:creationId xmlns:a16="http://schemas.microsoft.com/office/drawing/2014/main" id="{C6817768-6CE1-48C2-9F02-06E41D459809}"/>
                </a:ext>
              </a:extLst>
            </p:cNvPr>
            <p:cNvGrpSpPr/>
            <p:nvPr/>
          </p:nvGrpSpPr>
          <p:grpSpPr>
            <a:xfrm>
              <a:off x="1033284" y="2475142"/>
              <a:ext cx="150360" cy="152150"/>
              <a:chOff x="1047047" y="2428226"/>
              <a:chExt cx="150360" cy="152150"/>
            </a:xfrm>
          </p:grpSpPr>
          <p:sp>
            <p:nvSpPr>
              <p:cNvPr id="647" name="Freeform 116">
                <a:extLst>
                  <a:ext uri="{FF2B5EF4-FFF2-40B4-BE49-F238E27FC236}">
                    <a16:creationId xmlns:a16="http://schemas.microsoft.com/office/drawing/2014/main" id="{DED091AF-50D4-48A2-903A-019A757C325E}"/>
                  </a:ext>
                </a:extLst>
              </p:cNvPr>
              <p:cNvSpPr>
                <a:spLocks/>
              </p:cNvSpPr>
              <p:nvPr/>
            </p:nvSpPr>
            <p:spPr bwMode="auto">
              <a:xfrm>
                <a:off x="1047047" y="2433596"/>
                <a:ext cx="51910" cy="69810"/>
              </a:xfrm>
              <a:custGeom>
                <a:avLst/>
                <a:gdLst>
                  <a:gd name="T0" fmla="*/ 0 w 48"/>
                  <a:gd name="T1" fmla="*/ 63 h 63"/>
                  <a:gd name="T2" fmla="*/ 0 w 48"/>
                  <a:gd name="T3" fmla="*/ 63 h 63"/>
                  <a:gd name="T4" fmla="*/ 27 w 48"/>
                  <a:gd name="T5" fmla="*/ 63 h 63"/>
                  <a:gd name="T6" fmla="*/ 48 w 48"/>
                  <a:gd name="T7" fmla="*/ 27 h 63"/>
                  <a:gd name="T8" fmla="*/ 44 w 48"/>
                  <a:gd name="T9" fmla="*/ 0 h 63"/>
                  <a:gd name="T10" fmla="*/ 0 w 48"/>
                  <a:gd name="T11" fmla="*/ 63 h 63"/>
                </a:gdLst>
                <a:ahLst/>
                <a:cxnLst>
                  <a:cxn ang="0">
                    <a:pos x="T0" y="T1"/>
                  </a:cxn>
                  <a:cxn ang="0">
                    <a:pos x="T2" y="T3"/>
                  </a:cxn>
                  <a:cxn ang="0">
                    <a:pos x="T4" y="T5"/>
                  </a:cxn>
                  <a:cxn ang="0">
                    <a:pos x="T6" y="T7"/>
                  </a:cxn>
                  <a:cxn ang="0">
                    <a:pos x="T8" y="T9"/>
                  </a:cxn>
                  <a:cxn ang="0">
                    <a:pos x="T10" y="T11"/>
                  </a:cxn>
                </a:cxnLst>
                <a:rect l="0" t="0" r="r" b="b"/>
                <a:pathLst>
                  <a:path w="48" h="63">
                    <a:moveTo>
                      <a:pt x="0" y="63"/>
                    </a:moveTo>
                    <a:lnTo>
                      <a:pt x="0" y="63"/>
                    </a:lnTo>
                    <a:lnTo>
                      <a:pt x="27" y="63"/>
                    </a:lnTo>
                    <a:cubicBezTo>
                      <a:pt x="27" y="48"/>
                      <a:pt x="36" y="35"/>
                      <a:pt x="48" y="27"/>
                    </a:cubicBezTo>
                    <a:lnTo>
                      <a:pt x="44" y="0"/>
                    </a:lnTo>
                    <a:cubicBezTo>
                      <a:pt x="18" y="10"/>
                      <a:pt x="0" y="35"/>
                      <a:pt x="0" y="6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8" name="Freeform 117">
                <a:extLst>
                  <a:ext uri="{FF2B5EF4-FFF2-40B4-BE49-F238E27FC236}">
                    <a16:creationId xmlns:a16="http://schemas.microsoft.com/office/drawing/2014/main" id="{FFB9417A-2A93-423E-90CB-CB66D7E8F46A}"/>
                  </a:ext>
                </a:extLst>
              </p:cNvPr>
              <p:cNvSpPr>
                <a:spLocks/>
              </p:cNvSpPr>
              <p:nvPr/>
            </p:nvSpPr>
            <p:spPr bwMode="auto">
              <a:xfrm>
                <a:off x="1107907" y="2487296"/>
                <a:ext cx="30430" cy="30430"/>
              </a:xfrm>
              <a:custGeom>
                <a:avLst/>
                <a:gdLst>
                  <a:gd name="T0" fmla="*/ 27 w 27"/>
                  <a:gd name="T1" fmla="*/ 13 h 27"/>
                  <a:gd name="T2" fmla="*/ 27 w 27"/>
                  <a:gd name="T3" fmla="*/ 13 h 27"/>
                  <a:gd name="T4" fmla="*/ 14 w 27"/>
                  <a:gd name="T5" fmla="*/ 0 h 27"/>
                  <a:gd name="T6" fmla="*/ 0 w 27"/>
                  <a:gd name="T7" fmla="*/ 13 h 27"/>
                  <a:gd name="T8" fmla="*/ 14 w 27"/>
                  <a:gd name="T9" fmla="*/ 27 h 27"/>
                  <a:gd name="T10" fmla="*/ 27 w 27"/>
                  <a:gd name="T11" fmla="*/ 13 h 27"/>
                </a:gdLst>
                <a:ahLst/>
                <a:cxnLst>
                  <a:cxn ang="0">
                    <a:pos x="T0" y="T1"/>
                  </a:cxn>
                  <a:cxn ang="0">
                    <a:pos x="T2" y="T3"/>
                  </a:cxn>
                  <a:cxn ang="0">
                    <a:pos x="T4" y="T5"/>
                  </a:cxn>
                  <a:cxn ang="0">
                    <a:pos x="T6" y="T7"/>
                  </a:cxn>
                  <a:cxn ang="0">
                    <a:pos x="T8" y="T9"/>
                  </a:cxn>
                  <a:cxn ang="0">
                    <a:pos x="T10" y="T11"/>
                  </a:cxn>
                </a:cxnLst>
                <a:rect l="0" t="0" r="r" b="b"/>
                <a:pathLst>
                  <a:path w="27" h="27">
                    <a:moveTo>
                      <a:pt x="27" y="13"/>
                    </a:moveTo>
                    <a:lnTo>
                      <a:pt x="27" y="13"/>
                    </a:lnTo>
                    <a:cubicBezTo>
                      <a:pt x="27" y="6"/>
                      <a:pt x="21" y="0"/>
                      <a:pt x="14" y="0"/>
                    </a:cubicBezTo>
                    <a:cubicBezTo>
                      <a:pt x="6" y="0"/>
                      <a:pt x="0" y="6"/>
                      <a:pt x="0" y="13"/>
                    </a:cubicBezTo>
                    <a:cubicBezTo>
                      <a:pt x="0" y="21"/>
                      <a:pt x="6" y="27"/>
                      <a:pt x="14" y="27"/>
                    </a:cubicBezTo>
                    <a:cubicBezTo>
                      <a:pt x="21" y="27"/>
                      <a:pt x="27" y="21"/>
                      <a:pt x="27" y="1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9" name="Freeform 118">
                <a:extLst>
                  <a:ext uri="{FF2B5EF4-FFF2-40B4-BE49-F238E27FC236}">
                    <a16:creationId xmlns:a16="http://schemas.microsoft.com/office/drawing/2014/main" id="{5FD1DD62-7566-4D89-A20A-B8DB5994995D}"/>
                  </a:ext>
                </a:extLst>
              </p:cNvPr>
              <p:cNvSpPr>
                <a:spLocks/>
              </p:cNvSpPr>
              <p:nvPr/>
            </p:nvSpPr>
            <p:spPr bwMode="auto">
              <a:xfrm>
                <a:off x="1124017" y="2428226"/>
                <a:ext cx="71600" cy="55490"/>
              </a:xfrm>
              <a:custGeom>
                <a:avLst/>
                <a:gdLst>
                  <a:gd name="T0" fmla="*/ 36 w 64"/>
                  <a:gd name="T1" fmla="*/ 50 h 50"/>
                  <a:gd name="T2" fmla="*/ 36 w 64"/>
                  <a:gd name="T3" fmla="*/ 50 h 50"/>
                  <a:gd name="T4" fmla="*/ 64 w 64"/>
                  <a:gd name="T5" fmla="*/ 50 h 50"/>
                  <a:gd name="T6" fmla="*/ 0 w 64"/>
                  <a:gd name="T7" fmla="*/ 0 h 50"/>
                  <a:gd name="T8" fmla="*/ 4 w 64"/>
                  <a:gd name="T9" fmla="*/ 27 h 50"/>
                  <a:gd name="T10" fmla="*/ 36 w 64"/>
                  <a:gd name="T11" fmla="*/ 50 h 50"/>
                </a:gdLst>
                <a:ahLst/>
                <a:cxnLst>
                  <a:cxn ang="0">
                    <a:pos x="T0" y="T1"/>
                  </a:cxn>
                  <a:cxn ang="0">
                    <a:pos x="T2" y="T3"/>
                  </a:cxn>
                  <a:cxn ang="0">
                    <a:pos x="T4" y="T5"/>
                  </a:cxn>
                  <a:cxn ang="0">
                    <a:pos x="T6" y="T7"/>
                  </a:cxn>
                  <a:cxn ang="0">
                    <a:pos x="T8" y="T9"/>
                  </a:cxn>
                  <a:cxn ang="0">
                    <a:pos x="T10" y="T11"/>
                  </a:cxn>
                </a:cxnLst>
                <a:rect l="0" t="0" r="r" b="b"/>
                <a:pathLst>
                  <a:path w="64" h="50">
                    <a:moveTo>
                      <a:pt x="36" y="50"/>
                    </a:moveTo>
                    <a:lnTo>
                      <a:pt x="36" y="50"/>
                    </a:lnTo>
                    <a:lnTo>
                      <a:pt x="64" y="50"/>
                    </a:lnTo>
                    <a:cubicBezTo>
                      <a:pt x="56" y="22"/>
                      <a:pt x="31" y="1"/>
                      <a:pt x="0" y="0"/>
                    </a:cubicBezTo>
                    <a:lnTo>
                      <a:pt x="4" y="27"/>
                    </a:lnTo>
                    <a:cubicBezTo>
                      <a:pt x="18" y="29"/>
                      <a:pt x="30" y="38"/>
                      <a:pt x="36" y="5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0" name="Freeform 119">
                <a:extLst>
                  <a:ext uri="{FF2B5EF4-FFF2-40B4-BE49-F238E27FC236}">
                    <a16:creationId xmlns:a16="http://schemas.microsoft.com/office/drawing/2014/main" id="{6726619C-14D2-4CD6-AF0E-B72BF68150EA}"/>
                  </a:ext>
                </a:extLst>
              </p:cNvPr>
              <p:cNvSpPr>
                <a:spLocks/>
              </p:cNvSpPr>
              <p:nvPr/>
            </p:nvSpPr>
            <p:spPr bwMode="auto">
              <a:xfrm>
                <a:off x="1122227" y="2512356"/>
                <a:ext cx="75180" cy="68020"/>
              </a:xfrm>
              <a:custGeom>
                <a:avLst/>
                <a:gdLst>
                  <a:gd name="T0" fmla="*/ 0 w 67"/>
                  <a:gd name="T1" fmla="*/ 33 h 60"/>
                  <a:gd name="T2" fmla="*/ 0 w 67"/>
                  <a:gd name="T3" fmla="*/ 33 h 60"/>
                  <a:gd name="T4" fmla="*/ 0 w 67"/>
                  <a:gd name="T5" fmla="*/ 60 h 60"/>
                  <a:gd name="T6" fmla="*/ 67 w 67"/>
                  <a:gd name="T7" fmla="*/ 0 h 60"/>
                  <a:gd name="T8" fmla="*/ 41 w 67"/>
                  <a:gd name="T9" fmla="*/ 0 h 60"/>
                  <a:gd name="T10" fmla="*/ 0 w 67"/>
                  <a:gd name="T11" fmla="*/ 33 h 60"/>
                </a:gdLst>
                <a:ahLst/>
                <a:cxnLst>
                  <a:cxn ang="0">
                    <a:pos x="T0" y="T1"/>
                  </a:cxn>
                  <a:cxn ang="0">
                    <a:pos x="T2" y="T3"/>
                  </a:cxn>
                  <a:cxn ang="0">
                    <a:pos x="T4" y="T5"/>
                  </a:cxn>
                  <a:cxn ang="0">
                    <a:pos x="T6" y="T7"/>
                  </a:cxn>
                  <a:cxn ang="0">
                    <a:pos x="T8" y="T9"/>
                  </a:cxn>
                  <a:cxn ang="0">
                    <a:pos x="T10" y="T11"/>
                  </a:cxn>
                </a:cxnLst>
                <a:rect l="0" t="0" r="r" b="b"/>
                <a:pathLst>
                  <a:path w="67" h="60">
                    <a:moveTo>
                      <a:pt x="0" y="33"/>
                    </a:moveTo>
                    <a:lnTo>
                      <a:pt x="0" y="33"/>
                    </a:lnTo>
                    <a:lnTo>
                      <a:pt x="0" y="60"/>
                    </a:lnTo>
                    <a:cubicBezTo>
                      <a:pt x="35" y="60"/>
                      <a:pt x="63" y="33"/>
                      <a:pt x="67" y="0"/>
                    </a:cubicBezTo>
                    <a:lnTo>
                      <a:pt x="41" y="0"/>
                    </a:lnTo>
                    <a:cubicBezTo>
                      <a:pt x="37" y="19"/>
                      <a:pt x="20" y="33"/>
                      <a:pt x="0" y="3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46" name="Devices3_EA6C" title="Icon of a cellphone in front of a monitor">
              <a:extLst>
                <a:ext uri="{FF2B5EF4-FFF2-40B4-BE49-F238E27FC236}">
                  <a16:creationId xmlns:a16="http://schemas.microsoft.com/office/drawing/2014/main" id="{7345AFC8-2F3B-46D1-942F-55272710D1F1}"/>
                </a:ext>
              </a:extLst>
            </p:cNvPr>
            <p:cNvSpPr>
              <a:spLocks noChangeAspect="1" noEditPoints="1"/>
            </p:cNvSpPr>
            <p:nvPr/>
          </p:nvSpPr>
          <p:spPr bwMode="auto">
            <a:xfrm>
              <a:off x="841300" y="2411483"/>
              <a:ext cx="480546" cy="332914"/>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51" name="Group 650">
            <a:extLst>
              <a:ext uri="{FF2B5EF4-FFF2-40B4-BE49-F238E27FC236}">
                <a16:creationId xmlns:a16="http://schemas.microsoft.com/office/drawing/2014/main" id="{0C03994A-E19C-4949-8C07-BA5874F47801}"/>
              </a:ext>
              <a:ext uri="{C183D7F6-B498-43B3-948B-1728B52AA6E4}">
                <adec:decorative xmlns:adec="http://schemas.microsoft.com/office/drawing/2017/decorative" val="1"/>
              </a:ext>
            </a:extLst>
          </p:cNvPr>
          <p:cNvGrpSpPr>
            <a:grpSpLocks/>
          </p:cNvGrpSpPr>
          <p:nvPr/>
        </p:nvGrpSpPr>
        <p:grpSpPr>
          <a:xfrm>
            <a:off x="2683344" y="1898583"/>
            <a:ext cx="775545" cy="775545"/>
            <a:chOff x="2609680" y="2154880"/>
            <a:chExt cx="875079" cy="849308"/>
          </a:xfrm>
        </p:grpSpPr>
        <p:sp>
          <p:nvSpPr>
            <p:cNvPr id="652" name="Oval 651">
              <a:extLst>
                <a:ext uri="{FF2B5EF4-FFF2-40B4-BE49-F238E27FC236}">
                  <a16:creationId xmlns:a16="http://schemas.microsoft.com/office/drawing/2014/main" id="{BEC0BCEE-2BCC-4505-BAF6-FE56C33E6F13}"/>
                </a:ext>
              </a:extLst>
            </p:cNvPr>
            <p:cNvSpPr/>
            <p:nvPr/>
          </p:nvSpPr>
          <p:spPr bwMode="auto">
            <a:xfrm>
              <a:off x="2609680" y="2154880"/>
              <a:ext cx="875079" cy="849308"/>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653" name="Freeform: Shape 652">
              <a:extLst>
                <a:ext uri="{FF2B5EF4-FFF2-40B4-BE49-F238E27FC236}">
                  <a16:creationId xmlns:a16="http://schemas.microsoft.com/office/drawing/2014/main" id="{FB96AA26-DDFA-4F8A-8B90-FD2AB799717C}"/>
                </a:ext>
              </a:extLst>
            </p:cNvPr>
            <p:cNvSpPr/>
            <p:nvPr/>
          </p:nvSpPr>
          <p:spPr>
            <a:xfrm>
              <a:off x="2988863" y="2354564"/>
              <a:ext cx="244764" cy="406876"/>
            </a:xfrm>
            <a:custGeom>
              <a:avLst/>
              <a:gdLst>
                <a:gd name="connsiteX0" fmla="*/ 0 w 146685"/>
                <a:gd name="connsiteY0" fmla="*/ 0 h 243839"/>
                <a:gd name="connsiteX1" fmla="*/ 146685 w 146685"/>
                <a:gd name="connsiteY1" fmla="*/ 0 h 243839"/>
                <a:gd name="connsiteX2" fmla="*/ 146685 w 146685"/>
                <a:gd name="connsiteY2" fmla="*/ 243839 h 243839"/>
                <a:gd name="connsiteX3" fmla="*/ 83821 w 146685"/>
                <a:gd name="connsiteY3" fmla="*/ 243839 h 243839"/>
                <a:gd name="connsiteX4" fmla="*/ 83821 w 146685"/>
                <a:gd name="connsiteY4" fmla="*/ 59054 h 243839"/>
                <a:gd name="connsiteX5" fmla="*/ 0 w 146685"/>
                <a:gd name="connsiteY5" fmla="*/ 59054 h 243839"/>
                <a:gd name="connsiteX0" fmla="*/ 83821 w 175261"/>
                <a:gd name="connsiteY0" fmla="*/ 59054 h 243839"/>
                <a:gd name="connsiteX1" fmla="*/ 0 w 175261"/>
                <a:gd name="connsiteY1" fmla="*/ 59054 h 243839"/>
                <a:gd name="connsiteX2" fmla="*/ 0 w 175261"/>
                <a:gd name="connsiteY2" fmla="*/ 0 h 243839"/>
                <a:gd name="connsiteX3" fmla="*/ 146685 w 175261"/>
                <a:gd name="connsiteY3" fmla="*/ 0 h 243839"/>
                <a:gd name="connsiteX4" fmla="*/ 146685 w 175261"/>
                <a:gd name="connsiteY4" fmla="*/ 243839 h 243839"/>
                <a:gd name="connsiteX5" fmla="*/ 83821 w 175261"/>
                <a:gd name="connsiteY5" fmla="*/ 243839 h 243839"/>
                <a:gd name="connsiteX6" fmla="*/ 175261 w 175261"/>
                <a:gd name="connsiteY6" fmla="*/ 150494 h 243839"/>
                <a:gd name="connsiteX0" fmla="*/ 83821 w 146685"/>
                <a:gd name="connsiteY0" fmla="*/ 59054 h 243839"/>
                <a:gd name="connsiteX1" fmla="*/ 0 w 146685"/>
                <a:gd name="connsiteY1" fmla="*/ 59054 h 243839"/>
                <a:gd name="connsiteX2" fmla="*/ 0 w 146685"/>
                <a:gd name="connsiteY2" fmla="*/ 0 h 243839"/>
                <a:gd name="connsiteX3" fmla="*/ 146685 w 146685"/>
                <a:gd name="connsiteY3" fmla="*/ 0 h 243839"/>
                <a:gd name="connsiteX4" fmla="*/ 146685 w 146685"/>
                <a:gd name="connsiteY4" fmla="*/ 243839 h 243839"/>
                <a:gd name="connsiteX5" fmla="*/ 83821 w 146685"/>
                <a:gd name="connsiteY5" fmla="*/ 243839 h 243839"/>
                <a:gd name="connsiteX0" fmla="*/ 0 w 146685"/>
                <a:gd name="connsiteY0" fmla="*/ 59054 h 243839"/>
                <a:gd name="connsiteX1" fmla="*/ 0 w 146685"/>
                <a:gd name="connsiteY1" fmla="*/ 0 h 243839"/>
                <a:gd name="connsiteX2" fmla="*/ 146685 w 146685"/>
                <a:gd name="connsiteY2" fmla="*/ 0 h 243839"/>
                <a:gd name="connsiteX3" fmla="*/ 146685 w 146685"/>
                <a:gd name="connsiteY3" fmla="*/ 243839 h 243839"/>
                <a:gd name="connsiteX4" fmla="*/ 83821 w 146685"/>
                <a:gd name="connsiteY4" fmla="*/ 243839 h 243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685" h="243839">
                  <a:moveTo>
                    <a:pt x="0" y="59054"/>
                  </a:moveTo>
                  <a:lnTo>
                    <a:pt x="0" y="0"/>
                  </a:lnTo>
                  <a:lnTo>
                    <a:pt x="146685" y="0"/>
                  </a:lnTo>
                  <a:lnTo>
                    <a:pt x="146685" y="243839"/>
                  </a:lnTo>
                  <a:lnTo>
                    <a:pt x="83821" y="243839"/>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4" name="Freeform: Shape 653">
              <a:extLst>
                <a:ext uri="{FF2B5EF4-FFF2-40B4-BE49-F238E27FC236}">
                  <a16:creationId xmlns:a16="http://schemas.microsoft.com/office/drawing/2014/main" id="{F24E28A8-EBC8-4FDF-BE9F-D79220FCD2A2}"/>
                </a:ext>
              </a:extLst>
            </p:cNvPr>
            <p:cNvSpPr/>
            <p:nvPr/>
          </p:nvSpPr>
          <p:spPr>
            <a:xfrm>
              <a:off x="2912574" y="2453103"/>
              <a:ext cx="216156" cy="308337"/>
            </a:xfrm>
            <a:custGeom>
              <a:avLst/>
              <a:gdLst>
                <a:gd name="connsiteX0" fmla="*/ 0 w 129540"/>
                <a:gd name="connsiteY0" fmla="*/ 0 h 184785"/>
                <a:gd name="connsiteX1" fmla="*/ 129540 w 129540"/>
                <a:gd name="connsiteY1" fmla="*/ 0 h 184785"/>
                <a:gd name="connsiteX2" fmla="*/ 129540 w 129540"/>
                <a:gd name="connsiteY2" fmla="*/ 184785 h 184785"/>
                <a:gd name="connsiteX3" fmla="*/ 81915 w 129540"/>
                <a:gd name="connsiteY3" fmla="*/ 184785 h 184785"/>
                <a:gd name="connsiteX4" fmla="*/ 81915 w 129540"/>
                <a:gd name="connsiteY4" fmla="*/ 55246 h 184785"/>
                <a:gd name="connsiteX5" fmla="*/ 0 w 129540"/>
                <a:gd name="connsiteY5" fmla="*/ 55246 h 184785"/>
                <a:gd name="connsiteX0" fmla="*/ 81915 w 173355"/>
                <a:gd name="connsiteY0" fmla="*/ 55246 h 184785"/>
                <a:gd name="connsiteX1" fmla="*/ 0 w 173355"/>
                <a:gd name="connsiteY1" fmla="*/ 55246 h 184785"/>
                <a:gd name="connsiteX2" fmla="*/ 0 w 173355"/>
                <a:gd name="connsiteY2" fmla="*/ 0 h 184785"/>
                <a:gd name="connsiteX3" fmla="*/ 129540 w 173355"/>
                <a:gd name="connsiteY3" fmla="*/ 0 h 184785"/>
                <a:gd name="connsiteX4" fmla="*/ 129540 w 173355"/>
                <a:gd name="connsiteY4" fmla="*/ 184785 h 184785"/>
                <a:gd name="connsiteX5" fmla="*/ 81915 w 173355"/>
                <a:gd name="connsiteY5" fmla="*/ 184785 h 184785"/>
                <a:gd name="connsiteX6" fmla="*/ 173355 w 173355"/>
                <a:gd name="connsiteY6" fmla="*/ 146686 h 184785"/>
                <a:gd name="connsiteX0" fmla="*/ 81915 w 129540"/>
                <a:gd name="connsiteY0" fmla="*/ 55246 h 184785"/>
                <a:gd name="connsiteX1" fmla="*/ 0 w 129540"/>
                <a:gd name="connsiteY1" fmla="*/ 55246 h 184785"/>
                <a:gd name="connsiteX2" fmla="*/ 0 w 129540"/>
                <a:gd name="connsiteY2" fmla="*/ 0 h 184785"/>
                <a:gd name="connsiteX3" fmla="*/ 129540 w 129540"/>
                <a:gd name="connsiteY3" fmla="*/ 0 h 184785"/>
                <a:gd name="connsiteX4" fmla="*/ 129540 w 129540"/>
                <a:gd name="connsiteY4" fmla="*/ 184785 h 184785"/>
                <a:gd name="connsiteX5" fmla="*/ 81915 w 129540"/>
                <a:gd name="connsiteY5" fmla="*/ 184785 h 184785"/>
                <a:gd name="connsiteX0" fmla="*/ 0 w 129540"/>
                <a:gd name="connsiteY0" fmla="*/ 55246 h 184785"/>
                <a:gd name="connsiteX1" fmla="*/ 0 w 129540"/>
                <a:gd name="connsiteY1" fmla="*/ 0 h 184785"/>
                <a:gd name="connsiteX2" fmla="*/ 129540 w 129540"/>
                <a:gd name="connsiteY2" fmla="*/ 0 h 184785"/>
                <a:gd name="connsiteX3" fmla="*/ 129540 w 129540"/>
                <a:gd name="connsiteY3" fmla="*/ 184785 h 184785"/>
                <a:gd name="connsiteX4" fmla="*/ 81915 w 129540"/>
                <a:gd name="connsiteY4" fmla="*/ 184785 h 18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 h="184785">
                  <a:moveTo>
                    <a:pt x="0" y="55246"/>
                  </a:moveTo>
                  <a:lnTo>
                    <a:pt x="0" y="0"/>
                  </a:lnTo>
                  <a:lnTo>
                    <a:pt x="129540" y="0"/>
                  </a:lnTo>
                  <a:lnTo>
                    <a:pt x="129540" y="184785"/>
                  </a:lnTo>
                  <a:lnTo>
                    <a:pt x="81915" y="18478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5" name="Rectangle 654">
              <a:extLst>
                <a:ext uri="{FF2B5EF4-FFF2-40B4-BE49-F238E27FC236}">
                  <a16:creationId xmlns:a16="http://schemas.microsoft.com/office/drawing/2014/main" id="{A860426E-D02E-473E-A114-CECA25DF6E36}"/>
                </a:ext>
              </a:extLst>
            </p:cNvPr>
            <p:cNvSpPr/>
            <p:nvPr/>
          </p:nvSpPr>
          <p:spPr>
            <a:xfrm>
              <a:off x="2833105" y="2545288"/>
              <a:ext cx="216156" cy="216154"/>
            </a:xfrm>
            <a:prstGeom prst="rect">
              <a:avLst/>
            </a:pr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56" name="Group 655">
            <a:extLst>
              <a:ext uri="{FF2B5EF4-FFF2-40B4-BE49-F238E27FC236}">
                <a16:creationId xmlns:a16="http://schemas.microsoft.com/office/drawing/2014/main" id="{8ACD8954-A8C9-4C60-A1A6-E01BBABF19C0}"/>
              </a:ext>
              <a:ext uri="{C183D7F6-B498-43B3-948B-1728B52AA6E4}">
                <adec:decorative xmlns:adec="http://schemas.microsoft.com/office/drawing/2017/decorative" val="1"/>
              </a:ext>
            </a:extLst>
          </p:cNvPr>
          <p:cNvGrpSpPr>
            <a:grpSpLocks/>
          </p:cNvGrpSpPr>
          <p:nvPr/>
        </p:nvGrpSpPr>
        <p:grpSpPr>
          <a:xfrm>
            <a:off x="4282250" y="3307070"/>
            <a:ext cx="775545" cy="775545"/>
            <a:chOff x="5241535" y="4536694"/>
            <a:chExt cx="864768" cy="873970"/>
          </a:xfrm>
        </p:grpSpPr>
        <p:sp>
          <p:nvSpPr>
            <p:cNvPr id="657" name="Oval 656">
              <a:extLst>
                <a:ext uri="{FF2B5EF4-FFF2-40B4-BE49-F238E27FC236}">
                  <a16:creationId xmlns:a16="http://schemas.microsoft.com/office/drawing/2014/main" id="{B77DADD6-4589-4A1F-8FBE-008ACAE20D1F}"/>
                </a:ext>
              </a:extLst>
            </p:cNvPr>
            <p:cNvSpPr/>
            <p:nvPr/>
          </p:nvSpPr>
          <p:spPr bwMode="auto">
            <a:xfrm>
              <a:off x="5241535" y="4536694"/>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658" name="Freeform 1018">
              <a:extLst>
                <a:ext uri="{FF2B5EF4-FFF2-40B4-BE49-F238E27FC236}">
                  <a16:creationId xmlns:a16="http://schemas.microsoft.com/office/drawing/2014/main" id="{7E5CC7C9-9527-4758-A8ED-7011730803F6}"/>
                </a:ext>
              </a:extLst>
            </p:cNvPr>
            <p:cNvSpPr>
              <a:spLocks/>
            </p:cNvSpPr>
            <p:nvPr/>
          </p:nvSpPr>
          <p:spPr bwMode="auto">
            <a:xfrm>
              <a:off x="5502871" y="4786557"/>
              <a:ext cx="324031" cy="402626"/>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2">
                  <a:moveTo>
                    <a:pt x="102" y="0"/>
                  </a:moveTo>
                  <a:lnTo>
                    <a:pt x="60" y="0"/>
                  </a:lnTo>
                  <a:lnTo>
                    <a:pt x="13" y="58"/>
                  </a:lnTo>
                  <a:lnTo>
                    <a:pt x="38" y="58"/>
                  </a:lnTo>
                  <a:lnTo>
                    <a:pt x="0" y="102"/>
                  </a:lnTo>
                  <a:lnTo>
                    <a:pt x="9" y="102"/>
                  </a:lnTo>
                  <a:lnTo>
                    <a:pt x="92" y="42"/>
                  </a:lnTo>
                  <a:lnTo>
                    <a:pt x="57" y="42"/>
                  </a:lnTo>
                  <a:lnTo>
                    <a:pt x="102" y="0"/>
                  </a:lnTo>
                  <a:close/>
                </a:path>
              </a:pathLst>
            </a:custGeom>
            <a:noFill/>
            <a:ln w="15875" cap="sq">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59" name="Group 658">
            <a:extLst>
              <a:ext uri="{FF2B5EF4-FFF2-40B4-BE49-F238E27FC236}">
                <a16:creationId xmlns:a16="http://schemas.microsoft.com/office/drawing/2014/main" id="{6CDFC18E-996F-4B6B-B2EE-53F7D808EEC1}"/>
              </a:ext>
              <a:ext uri="{C183D7F6-B498-43B3-948B-1728B52AA6E4}">
                <adec:decorative xmlns:adec="http://schemas.microsoft.com/office/drawing/2017/decorative" val="1"/>
              </a:ext>
            </a:extLst>
          </p:cNvPr>
          <p:cNvGrpSpPr>
            <a:grpSpLocks/>
          </p:cNvGrpSpPr>
          <p:nvPr/>
        </p:nvGrpSpPr>
        <p:grpSpPr>
          <a:xfrm>
            <a:off x="1059961" y="3290218"/>
            <a:ext cx="775545" cy="775545"/>
            <a:chOff x="656770" y="4599298"/>
            <a:chExt cx="864768" cy="873969"/>
          </a:xfrm>
        </p:grpSpPr>
        <p:sp>
          <p:nvSpPr>
            <p:cNvPr id="660" name="Oval 659">
              <a:extLst>
                <a:ext uri="{FF2B5EF4-FFF2-40B4-BE49-F238E27FC236}">
                  <a16:creationId xmlns:a16="http://schemas.microsoft.com/office/drawing/2014/main" id="{6D9F03EE-A261-4A1C-A633-34F67A77E81D}"/>
                </a:ext>
              </a:extLst>
            </p:cNvPr>
            <p:cNvSpPr/>
            <p:nvPr/>
          </p:nvSpPr>
          <p:spPr bwMode="auto">
            <a:xfrm>
              <a:off x="656770" y="4599298"/>
              <a:ext cx="864768" cy="873969"/>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661" name="chip" title="Icon of a computer chip">
              <a:extLst>
                <a:ext uri="{FF2B5EF4-FFF2-40B4-BE49-F238E27FC236}">
                  <a16:creationId xmlns:a16="http://schemas.microsoft.com/office/drawing/2014/main" id="{E1B99921-D810-4AFC-9D3B-F87215B1134F}"/>
                </a:ext>
              </a:extLst>
            </p:cNvPr>
            <p:cNvSpPr>
              <a:spLocks noChangeAspect="1" noEditPoints="1"/>
            </p:cNvSpPr>
            <p:nvPr/>
          </p:nvSpPr>
          <p:spPr bwMode="auto">
            <a:xfrm>
              <a:off x="899004" y="4842278"/>
              <a:ext cx="380300" cy="38800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62" name="Group 661">
            <a:extLst>
              <a:ext uri="{FF2B5EF4-FFF2-40B4-BE49-F238E27FC236}">
                <a16:creationId xmlns:a16="http://schemas.microsoft.com/office/drawing/2014/main" id="{C0119ADE-00B9-4CBE-8612-D0A1FBCFBB27}"/>
              </a:ext>
              <a:ext uri="{C183D7F6-B498-43B3-948B-1728B52AA6E4}">
                <adec:decorative xmlns:adec="http://schemas.microsoft.com/office/drawing/2017/decorative" val="1"/>
              </a:ext>
            </a:extLst>
          </p:cNvPr>
          <p:cNvGrpSpPr>
            <a:grpSpLocks/>
          </p:cNvGrpSpPr>
          <p:nvPr/>
        </p:nvGrpSpPr>
        <p:grpSpPr>
          <a:xfrm>
            <a:off x="5884788" y="3314756"/>
            <a:ext cx="775545" cy="775545"/>
            <a:chOff x="7245112" y="4605067"/>
            <a:chExt cx="864768" cy="873970"/>
          </a:xfrm>
        </p:grpSpPr>
        <p:sp>
          <p:nvSpPr>
            <p:cNvPr id="663" name="Oval 662">
              <a:extLst>
                <a:ext uri="{FF2B5EF4-FFF2-40B4-BE49-F238E27FC236}">
                  <a16:creationId xmlns:a16="http://schemas.microsoft.com/office/drawing/2014/main" id="{905454B5-9C0A-4606-AD55-473939FE5C01}"/>
                </a:ext>
              </a:extLst>
            </p:cNvPr>
            <p:cNvSpPr/>
            <p:nvPr/>
          </p:nvSpPr>
          <p:spPr bwMode="auto">
            <a:xfrm>
              <a:off x="7245112" y="4605067"/>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664" name="Database_EFC7" title="Icon of a cylinder">
              <a:extLst>
                <a:ext uri="{FF2B5EF4-FFF2-40B4-BE49-F238E27FC236}">
                  <a16:creationId xmlns:a16="http://schemas.microsoft.com/office/drawing/2014/main" id="{0B300DF4-3D52-47B5-9DE4-6BCF1DB8A3FC}"/>
                </a:ext>
              </a:extLst>
            </p:cNvPr>
            <p:cNvSpPr>
              <a:spLocks noChangeAspect="1" noEditPoints="1"/>
            </p:cNvSpPr>
            <p:nvPr/>
          </p:nvSpPr>
          <p:spPr bwMode="auto">
            <a:xfrm>
              <a:off x="7512008" y="4826093"/>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65" name="Group 664">
            <a:extLst>
              <a:ext uri="{FF2B5EF4-FFF2-40B4-BE49-F238E27FC236}">
                <a16:creationId xmlns:a16="http://schemas.microsoft.com/office/drawing/2014/main" id="{C16A385E-B684-4834-A99C-5479A164B778}"/>
              </a:ext>
              <a:ext uri="{C183D7F6-B498-43B3-948B-1728B52AA6E4}">
                <adec:decorative xmlns:adec="http://schemas.microsoft.com/office/drawing/2017/decorative" val="1"/>
              </a:ext>
            </a:extLst>
          </p:cNvPr>
          <p:cNvGrpSpPr>
            <a:grpSpLocks/>
          </p:cNvGrpSpPr>
          <p:nvPr/>
        </p:nvGrpSpPr>
        <p:grpSpPr>
          <a:xfrm>
            <a:off x="2683344" y="3311712"/>
            <a:ext cx="775545" cy="775545"/>
            <a:chOff x="2593281" y="4507556"/>
            <a:chExt cx="864768" cy="873970"/>
          </a:xfrm>
        </p:grpSpPr>
        <p:sp>
          <p:nvSpPr>
            <p:cNvPr id="666" name="Oval 665">
              <a:extLst>
                <a:ext uri="{FF2B5EF4-FFF2-40B4-BE49-F238E27FC236}">
                  <a16:creationId xmlns:a16="http://schemas.microsoft.com/office/drawing/2014/main" id="{B1E29768-F6E7-4E9F-821A-638330EBEFB3}"/>
                </a:ext>
              </a:extLst>
            </p:cNvPr>
            <p:cNvSpPr/>
            <p:nvPr/>
          </p:nvSpPr>
          <p:spPr bwMode="auto">
            <a:xfrm>
              <a:off x="2593281" y="4507556"/>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667" name="Trim_video" title="Icon of a video timeline with trim marks">
              <a:extLst>
                <a:ext uri="{FF2B5EF4-FFF2-40B4-BE49-F238E27FC236}">
                  <a16:creationId xmlns:a16="http://schemas.microsoft.com/office/drawing/2014/main" id="{658A2796-1153-4A52-ACC7-768B776920B2}"/>
                </a:ext>
              </a:extLst>
            </p:cNvPr>
            <p:cNvSpPr>
              <a:spLocks noChangeAspect="1" noEditPoints="1"/>
            </p:cNvSpPr>
            <p:nvPr/>
          </p:nvSpPr>
          <p:spPr bwMode="auto">
            <a:xfrm>
              <a:off x="2753284" y="4703483"/>
              <a:ext cx="460028" cy="365760"/>
            </a:xfrm>
            <a:custGeom>
              <a:avLst/>
              <a:gdLst>
                <a:gd name="T0" fmla="*/ 182 w 244"/>
                <a:gd name="T1" fmla="*/ 95 h 194"/>
                <a:gd name="T2" fmla="*/ 182 w 244"/>
                <a:gd name="T3" fmla="*/ 124 h 194"/>
                <a:gd name="T4" fmla="*/ 63 w 244"/>
                <a:gd name="T5" fmla="*/ 124 h 194"/>
                <a:gd name="T6" fmla="*/ 63 w 244"/>
                <a:gd name="T7" fmla="*/ 69 h 194"/>
                <a:gd name="T8" fmla="*/ 182 w 244"/>
                <a:gd name="T9" fmla="*/ 69 h 194"/>
                <a:gd name="T10" fmla="*/ 182 w 244"/>
                <a:gd name="T11" fmla="*/ 95 h 194"/>
                <a:gd name="T12" fmla="*/ 33 w 244"/>
                <a:gd name="T13" fmla="*/ 129 h 194"/>
                <a:gd name="T14" fmla="*/ 33 w 244"/>
                <a:gd name="T15" fmla="*/ 64 h 194"/>
                <a:gd name="T16" fmla="*/ 0 w 244"/>
                <a:gd name="T17" fmla="*/ 64 h 194"/>
                <a:gd name="T18" fmla="*/ 0 w 244"/>
                <a:gd name="T19" fmla="*/ 129 h 194"/>
                <a:gd name="T20" fmla="*/ 211 w 244"/>
                <a:gd name="T21" fmla="*/ 64 h 194"/>
                <a:gd name="T22" fmla="*/ 211 w 244"/>
                <a:gd name="T23" fmla="*/ 129 h 194"/>
                <a:gd name="T24" fmla="*/ 179 w 244"/>
                <a:gd name="T25" fmla="*/ 32 h 194"/>
                <a:gd name="T26" fmla="*/ 179 w 244"/>
                <a:gd name="T27" fmla="*/ 48 h 194"/>
                <a:gd name="T28" fmla="*/ 179 w 244"/>
                <a:gd name="T29" fmla="*/ 0 h 194"/>
                <a:gd name="T30" fmla="*/ 179 w 244"/>
                <a:gd name="T31" fmla="*/ 16 h 194"/>
                <a:gd name="T32" fmla="*/ 66 w 244"/>
                <a:gd name="T33" fmla="*/ 32 h 194"/>
                <a:gd name="T34" fmla="*/ 66 w 244"/>
                <a:gd name="T35" fmla="*/ 48 h 194"/>
                <a:gd name="T36" fmla="*/ 66 w 244"/>
                <a:gd name="T37" fmla="*/ 0 h 194"/>
                <a:gd name="T38" fmla="*/ 66 w 244"/>
                <a:gd name="T39" fmla="*/ 16 h 194"/>
                <a:gd name="T40" fmla="*/ 179 w 244"/>
                <a:gd name="T41" fmla="*/ 178 h 194"/>
                <a:gd name="T42" fmla="*/ 179 w 244"/>
                <a:gd name="T43" fmla="*/ 194 h 194"/>
                <a:gd name="T44" fmla="*/ 179 w 244"/>
                <a:gd name="T45" fmla="*/ 146 h 194"/>
                <a:gd name="T46" fmla="*/ 179 w 244"/>
                <a:gd name="T47" fmla="*/ 162 h 194"/>
                <a:gd name="T48" fmla="*/ 66 w 244"/>
                <a:gd name="T49" fmla="*/ 178 h 194"/>
                <a:gd name="T50" fmla="*/ 66 w 244"/>
                <a:gd name="T51" fmla="*/ 194 h 194"/>
                <a:gd name="T52" fmla="*/ 66 w 244"/>
                <a:gd name="T53" fmla="*/ 145 h 194"/>
                <a:gd name="T54" fmla="*/ 66 w 244"/>
                <a:gd name="T55" fmla="*/ 161 h 194"/>
                <a:gd name="T56" fmla="*/ 244 w 244"/>
                <a:gd name="T57" fmla="*/ 64 h 194"/>
                <a:gd name="T58" fmla="*/ 244 w 244"/>
                <a:gd name="T59" fmla="*/ 12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4" h="194">
                  <a:moveTo>
                    <a:pt x="182" y="95"/>
                  </a:moveTo>
                  <a:lnTo>
                    <a:pt x="182" y="124"/>
                  </a:lnTo>
                  <a:lnTo>
                    <a:pt x="63" y="124"/>
                  </a:lnTo>
                  <a:lnTo>
                    <a:pt x="63" y="69"/>
                  </a:lnTo>
                  <a:lnTo>
                    <a:pt x="182" y="69"/>
                  </a:lnTo>
                  <a:lnTo>
                    <a:pt x="182" y="95"/>
                  </a:lnTo>
                  <a:moveTo>
                    <a:pt x="33" y="129"/>
                  </a:moveTo>
                  <a:lnTo>
                    <a:pt x="33" y="64"/>
                  </a:lnTo>
                  <a:moveTo>
                    <a:pt x="0" y="64"/>
                  </a:moveTo>
                  <a:lnTo>
                    <a:pt x="0" y="129"/>
                  </a:lnTo>
                  <a:moveTo>
                    <a:pt x="211" y="64"/>
                  </a:moveTo>
                  <a:lnTo>
                    <a:pt x="211" y="129"/>
                  </a:lnTo>
                  <a:moveTo>
                    <a:pt x="179" y="32"/>
                  </a:moveTo>
                  <a:lnTo>
                    <a:pt x="179" y="48"/>
                  </a:lnTo>
                  <a:moveTo>
                    <a:pt x="179" y="0"/>
                  </a:moveTo>
                  <a:lnTo>
                    <a:pt x="179" y="16"/>
                  </a:lnTo>
                  <a:moveTo>
                    <a:pt x="66" y="32"/>
                  </a:moveTo>
                  <a:lnTo>
                    <a:pt x="66" y="48"/>
                  </a:lnTo>
                  <a:moveTo>
                    <a:pt x="66" y="0"/>
                  </a:moveTo>
                  <a:lnTo>
                    <a:pt x="66" y="16"/>
                  </a:lnTo>
                  <a:moveTo>
                    <a:pt x="179" y="178"/>
                  </a:moveTo>
                  <a:lnTo>
                    <a:pt x="179" y="194"/>
                  </a:lnTo>
                  <a:moveTo>
                    <a:pt x="179" y="146"/>
                  </a:moveTo>
                  <a:lnTo>
                    <a:pt x="179" y="162"/>
                  </a:lnTo>
                  <a:moveTo>
                    <a:pt x="66" y="178"/>
                  </a:moveTo>
                  <a:lnTo>
                    <a:pt x="66" y="194"/>
                  </a:lnTo>
                  <a:moveTo>
                    <a:pt x="66" y="145"/>
                  </a:moveTo>
                  <a:lnTo>
                    <a:pt x="66" y="161"/>
                  </a:lnTo>
                  <a:moveTo>
                    <a:pt x="244" y="64"/>
                  </a:moveTo>
                  <a:lnTo>
                    <a:pt x="244" y="129"/>
                  </a:lnTo>
                </a:path>
              </a:pathLst>
            </a:custGeom>
            <a:noFill/>
            <a:ln w="15875" cap="sq">
              <a:solidFill>
                <a:schemeClr val="accent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68" name="Processing_E9F5" title="Icon of two interlocked gears">
              <a:extLst>
                <a:ext uri="{FF2B5EF4-FFF2-40B4-BE49-F238E27FC236}">
                  <a16:creationId xmlns:a16="http://schemas.microsoft.com/office/drawing/2014/main" id="{49ECA66D-40B6-41E3-AF9C-DE45A2B563E6}"/>
                </a:ext>
              </a:extLst>
            </p:cNvPr>
            <p:cNvSpPr>
              <a:spLocks noChangeAspect="1" noEditPoints="1"/>
            </p:cNvSpPr>
            <p:nvPr/>
          </p:nvSpPr>
          <p:spPr bwMode="auto">
            <a:xfrm flipH="1">
              <a:off x="3039618" y="5022887"/>
              <a:ext cx="297246" cy="25888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69" name="Group 668">
            <a:extLst>
              <a:ext uri="{FF2B5EF4-FFF2-40B4-BE49-F238E27FC236}">
                <a16:creationId xmlns:a16="http://schemas.microsoft.com/office/drawing/2014/main" id="{E9209124-B643-44FA-9AC6-3CA4F3972245}"/>
              </a:ext>
              <a:ext uri="{C183D7F6-B498-43B3-948B-1728B52AA6E4}">
                <adec:decorative xmlns:adec="http://schemas.microsoft.com/office/drawing/2017/decorative" val="1"/>
              </a:ext>
            </a:extLst>
          </p:cNvPr>
          <p:cNvGrpSpPr/>
          <p:nvPr/>
        </p:nvGrpSpPr>
        <p:grpSpPr>
          <a:xfrm>
            <a:off x="7516860" y="3285485"/>
            <a:ext cx="775545" cy="775545"/>
            <a:chOff x="6696745" y="3093756"/>
            <a:chExt cx="775545" cy="775545"/>
          </a:xfrm>
        </p:grpSpPr>
        <p:sp>
          <p:nvSpPr>
            <p:cNvPr id="670" name="Oval 669">
              <a:extLst>
                <a:ext uri="{FF2B5EF4-FFF2-40B4-BE49-F238E27FC236}">
                  <a16:creationId xmlns:a16="http://schemas.microsoft.com/office/drawing/2014/main" id="{4165B373-D9C4-4002-9A74-95737D21D33F}"/>
                </a:ext>
              </a:extLst>
            </p:cNvPr>
            <p:cNvSpPr/>
            <p:nvPr/>
          </p:nvSpPr>
          <p:spPr bwMode="auto">
            <a:xfrm>
              <a:off x="6696745" y="3093756"/>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pic>
          <p:nvPicPr>
            <p:cNvPr id="671" name="Graphic 670">
              <a:extLst>
                <a:ext uri="{FF2B5EF4-FFF2-40B4-BE49-F238E27FC236}">
                  <a16:creationId xmlns:a16="http://schemas.microsoft.com/office/drawing/2014/main" id="{D68D46C2-B7AF-4BAA-B59C-D5402110487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07076" y="3279225"/>
              <a:ext cx="325148" cy="404606"/>
            </a:xfrm>
            <a:prstGeom prst="rect">
              <a:avLst/>
            </a:prstGeom>
          </p:spPr>
        </p:pic>
      </p:grpSp>
      <p:grpSp>
        <p:nvGrpSpPr>
          <p:cNvPr id="672" name="Group 671">
            <a:extLst>
              <a:ext uri="{FF2B5EF4-FFF2-40B4-BE49-F238E27FC236}">
                <a16:creationId xmlns:a16="http://schemas.microsoft.com/office/drawing/2014/main" id="{FF6D587B-27C4-4814-9954-01EFC48CBCE4}"/>
              </a:ext>
              <a:ext uri="{C183D7F6-B498-43B3-948B-1728B52AA6E4}">
                <adec:decorative xmlns:adec="http://schemas.microsoft.com/office/drawing/2017/decorative" val="1"/>
              </a:ext>
            </a:extLst>
          </p:cNvPr>
          <p:cNvGrpSpPr/>
          <p:nvPr/>
        </p:nvGrpSpPr>
        <p:grpSpPr>
          <a:xfrm>
            <a:off x="584199" y="1547081"/>
            <a:ext cx="8224010" cy="3066757"/>
            <a:chOff x="584199" y="1547655"/>
            <a:chExt cx="7557969" cy="2826546"/>
          </a:xfrm>
        </p:grpSpPr>
        <p:sp>
          <p:nvSpPr>
            <p:cNvPr id="673" name="Rectangle 672">
              <a:extLst>
                <a:ext uri="{FF2B5EF4-FFF2-40B4-BE49-F238E27FC236}">
                  <a16:creationId xmlns:a16="http://schemas.microsoft.com/office/drawing/2014/main" id="{5789F6A0-DA7D-4565-8FA5-C536AD55552C}"/>
                </a:ext>
              </a:extLst>
            </p:cNvPr>
            <p:cNvSpPr/>
            <p:nvPr/>
          </p:nvSpPr>
          <p:spPr>
            <a:xfrm>
              <a:off x="584199" y="1639410"/>
              <a:ext cx="7557969" cy="2734791"/>
            </a:xfrm>
            <a:prstGeom prst="rect">
              <a:avLst/>
            </a:pr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74" name="TextBox 673">
              <a:extLst>
                <a:ext uri="{FF2B5EF4-FFF2-40B4-BE49-F238E27FC236}">
                  <a16:creationId xmlns:a16="http://schemas.microsoft.com/office/drawing/2014/main" id="{7FF95B55-1A37-442D-89A5-58FB6114C4EE}"/>
                </a:ext>
              </a:extLst>
            </p:cNvPr>
            <p:cNvSpPr txBox="1"/>
            <p:nvPr/>
          </p:nvSpPr>
          <p:spPr>
            <a:xfrm>
              <a:off x="3686641" y="1547655"/>
              <a:ext cx="1311720" cy="153181"/>
            </a:xfrm>
            <a:prstGeom prst="rect">
              <a:avLst/>
            </a:prstGeom>
            <a:solidFill>
              <a:schemeClr val="bg1"/>
            </a:solidFill>
          </p:spPr>
          <p:txBody>
            <a:bodyPr wrap="none" lIns="0" tIns="0" rIns="0" bIns="0" rtlCol="0">
              <a:spAutoFit/>
            </a:bodyPr>
            <a:lstStyle/>
            <a:p>
              <a:pPr marL="0" marR="0" lvl="0" indent="0" algn="ctr" defTabSz="896215" rtl="0" eaLnBrk="1" fontAlgn="base" latinLnBrk="0" hangingPunct="1">
                <a:lnSpc>
                  <a:spcPct val="90000"/>
                </a:lnSpc>
                <a:spcBef>
                  <a:spcPct val="0"/>
                </a:spcBef>
                <a:spcAft>
                  <a:spcPts val="588"/>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 MACHINES</a:t>
              </a:r>
            </a:p>
          </p:txBody>
        </p:sp>
      </p:grpSp>
      <p:grpSp>
        <p:nvGrpSpPr>
          <p:cNvPr id="675" name="Group 674">
            <a:extLst>
              <a:ext uri="{FF2B5EF4-FFF2-40B4-BE49-F238E27FC236}">
                <a16:creationId xmlns:a16="http://schemas.microsoft.com/office/drawing/2014/main" id="{F2DDC5BE-0121-4379-9E2F-7CDD4ABA3E6C}"/>
              </a:ext>
              <a:ext uri="{C183D7F6-B498-43B3-948B-1728B52AA6E4}">
                <adec:decorative xmlns:adec="http://schemas.microsoft.com/office/drawing/2017/decorative" val="1"/>
              </a:ext>
            </a:extLst>
          </p:cNvPr>
          <p:cNvGrpSpPr/>
          <p:nvPr/>
        </p:nvGrpSpPr>
        <p:grpSpPr>
          <a:xfrm>
            <a:off x="5884788" y="1898583"/>
            <a:ext cx="775545" cy="775545"/>
            <a:chOff x="5926352" y="1898583"/>
            <a:chExt cx="775545" cy="775545"/>
          </a:xfrm>
        </p:grpSpPr>
        <p:sp>
          <p:nvSpPr>
            <p:cNvPr id="676" name="Oval 675">
              <a:extLst>
                <a:ext uri="{FF2B5EF4-FFF2-40B4-BE49-F238E27FC236}">
                  <a16:creationId xmlns:a16="http://schemas.microsoft.com/office/drawing/2014/main" id="{E4CFBB58-9BAA-4D53-A25C-45E711CB1057}"/>
                </a:ext>
              </a:extLst>
            </p:cNvPr>
            <p:cNvSpPr/>
            <p:nvPr/>
          </p:nvSpPr>
          <p:spPr bwMode="auto">
            <a:xfrm>
              <a:off x="5926352" y="1898583"/>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677" name="Group 676">
              <a:extLst>
                <a:ext uri="{FF2B5EF4-FFF2-40B4-BE49-F238E27FC236}">
                  <a16:creationId xmlns:a16="http://schemas.microsoft.com/office/drawing/2014/main" id="{5D28BD23-E0C0-4BA0-8093-ACBA110FD207}"/>
                </a:ext>
              </a:extLst>
            </p:cNvPr>
            <p:cNvGrpSpPr>
              <a:grpSpLocks noChangeAspect="1"/>
            </p:cNvGrpSpPr>
            <p:nvPr/>
          </p:nvGrpSpPr>
          <p:grpSpPr>
            <a:xfrm>
              <a:off x="6145583" y="2116392"/>
              <a:ext cx="337081" cy="338059"/>
              <a:chOff x="969546" y="3473933"/>
              <a:chExt cx="1212600" cy="1216120"/>
            </a:xfrm>
          </p:grpSpPr>
          <p:sp>
            <p:nvSpPr>
              <p:cNvPr id="678" name="Rectangle 677">
                <a:extLst>
                  <a:ext uri="{FF2B5EF4-FFF2-40B4-BE49-F238E27FC236}">
                    <a16:creationId xmlns:a16="http://schemas.microsoft.com/office/drawing/2014/main" id="{A4735F84-671C-4B84-9473-8AEB94E0D42E}"/>
                  </a:ext>
                </a:extLst>
              </p:cNvPr>
              <p:cNvSpPr/>
              <p:nvPr/>
            </p:nvSpPr>
            <p:spPr bwMode="auto">
              <a:xfrm>
                <a:off x="1148987" y="3473933"/>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9" name="Rectangle 678">
                <a:extLst>
                  <a:ext uri="{FF2B5EF4-FFF2-40B4-BE49-F238E27FC236}">
                    <a16:creationId xmlns:a16="http://schemas.microsoft.com/office/drawing/2014/main" id="{8A6D9B51-5030-49A7-90AE-A6DC0E4EB518}"/>
                  </a:ext>
                </a:extLst>
              </p:cNvPr>
              <p:cNvSpPr/>
              <p:nvPr/>
            </p:nvSpPr>
            <p:spPr bwMode="auto">
              <a:xfrm>
                <a:off x="1148987" y="3661052"/>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0" name="Rectangle 679">
                <a:extLst>
                  <a:ext uri="{FF2B5EF4-FFF2-40B4-BE49-F238E27FC236}">
                    <a16:creationId xmlns:a16="http://schemas.microsoft.com/office/drawing/2014/main" id="{4EF4ED94-210C-481C-B456-6CEE476BAD6D}"/>
                  </a:ext>
                </a:extLst>
              </p:cNvPr>
              <p:cNvSpPr/>
              <p:nvPr/>
            </p:nvSpPr>
            <p:spPr bwMode="auto">
              <a:xfrm>
                <a:off x="971772" y="3661052"/>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1" name="Rectangle 680">
                <a:extLst>
                  <a:ext uri="{FF2B5EF4-FFF2-40B4-BE49-F238E27FC236}">
                    <a16:creationId xmlns:a16="http://schemas.microsoft.com/office/drawing/2014/main" id="{9ABDB95B-C04C-437F-938B-2D6D3A5FAA9B}"/>
                  </a:ext>
                </a:extLst>
              </p:cNvPr>
              <p:cNvSpPr/>
              <p:nvPr/>
            </p:nvSpPr>
            <p:spPr bwMode="auto">
              <a:xfrm>
                <a:off x="971772" y="3839408"/>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2" name="Oval 681">
                <a:extLst>
                  <a:ext uri="{FF2B5EF4-FFF2-40B4-BE49-F238E27FC236}">
                    <a16:creationId xmlns:a16="http://schemas.microsoft.com/office/drawing/2014/main" id="{52FFF140-28CD-4EFC-9E7E-F578B85ABC56}"/>
                  </a:ext>
                </a:extLst>
              </p:cNvPr>
              <p:cNvSpPr/>
              <p:nvPr/>
            </p:nvSpPr>
            <p:spPr bwMode="auto">
              <a:xfrm>
                <a:off x="969546" y="3473933"/>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Oval 682">
                <a:extLst>
                  <a:ext uri="{FF2B5EF4-FFF2-40B4-BE49-F238E27FC236}">
                    <a16:creationId xmlns:a16="http://schemas.microsoft.com/office/drawing/2014/main" id="{34F074C7-04C4-4160-A9FE-40D1F057922F}"/>
                  </a:ext>
                </a:extLst>
              </p:cNvPr>
              <p:cNvSpPr/>
              <p:nvPr/>
            </p:nvSpPr>
            <p:spPr bwMode="auto">
              <a:xfrm>
                <a:off x="1148196"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4" name="Oval 683">
                <a:extLst>
                  <a:ext uri="{FF2B5EF4-FFF2-40B4-BE49-F238E27FC236}">
                    <a16:creationId xmlns:a16="http://schemas.microsoft.com/office/drawing/2014/main" id="{893EE644-A8AA-449D-86EF-4CDDA89C9B1D}"/>
                  </a:ext>
                </a:extLst>
              </p:cNvPr>
              <p:cNvSpPr/>
              <p:nvPr/>
            </p:nvSpPr>
            <p:spPr bwMode="auto">
              <a:xfrm>
                <a:off x="1516008"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5" name="Oval 684">
                <a:extLst>
                  <a:ext uri="{FF2B5EF4-FFF2-40B4-BE49-F238E27FC236}">
                    <a16:creationId xmlns:a16="http://schemas.microsoft.com/office/drawing/2014/main" id="{FB74E75D-13DC-4FF8-A8BC-7081C453AD25}"/>
                  </a:ext>
                </a:extLst>
              </p:cNvPr>
              <p:cNvSpPr/>
              <p:nvPr/>
            </p:nvSpPr>
            <p:spPr bwMode="auto">
              <a:xfrm>
                <a:off x="1690516"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6" name="Oval 685">
                <a:extLst>
                  <a:ext uri="{FF2B5EF4-FFF2-40B4-BE49-F238E27FC236}">
                    <a16:creationId xmlns:a16="http://schemas.microsoft.com/office/drawing/2014/main" id="{FC8E12D6-0310-4B24-B769-DAEB9FED32DD}"/>
                  </a:ext>
                </a:extLst>
              </p:cNvPr>
              <p:cNvSpPr/>
              <p:nvPr/>
            </p:nvSpPr>
            <p:spPr bwMode="auto">
              <a:xfrm>
                <a:off x="1864006"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7" name="Oval 686">
                <a:extLst>
                  <a:ext uri="{FF2B5EF4-FFF2-40B4-BE49-F238E27FC236}">
                    <a16:creationId xmlns:a16="http://schemas.microsoft.com/office/drawing/2014/main" id="{34BB8655-C277-4D13-80D8-28B3D9557AB9}"/>
                  </a:ext>
                </a:extLst>
              </p:cNvPr>
              <p:cNvSpPr/>
              <p:nvPr/>
            </p:nvSpPr>
            <p:spPr bwMode="auto">
              <a:xfrm>
                <a:off x="1690516" y="3652790"/>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8" name="Oval 687">
                <a:extLst>
                  <a:ext uri="{FF2B5EF4-FFF2-40B4-BE49-F238E27FC236}">
                    <a16:creationId xmlns:a16="http://schemas.microsoft.com/office/drawing/2014/main" id="{1EF1F791-F882-482A-BAD5-48E6D8B82C4F}"/>
                  </a:ext>
                </a:extLst>
              </p:cNvPr>
              <p:cNvSpPr/>
              <p:nvPr/>
            </p:nvSpPr>
            <p:spPr bwMode="auto">
              <a:xfrm>
                <a:off x="1690516" y="4018987"/>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9" name="Rectangle 688">
                <a:extLst>
                  <a:ext uri="{FF2B5EF4-FFF2-40B4-BE49-F238E27FC236}">
                    <a16:creationId xmlns:a16="http://schemas.microsoft.com/office/drawing/2014/main" id="{62C20F81-D9E3-4F46-AC24-6EFBF2BB37EA}"/>
                  </a:ext>
                </a:extLst>
              </p:cNvPr>
              <p:cNvSpPr/>
              <p:nvPr/>
            </p:nvSpPr>
            <p:spPr bwMode="auto">
              <a:xfrm>
                <a:off x="971772" y="4193389"/>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0" name="Rectangle 689">
                <a:extLst>
                  <a:ext uri="{FF2B5EF4-FFF2-40B4-BE49-F238E27FC236}">
                    <a16:creationId xmlns:a16="http://schemas.microsoft.com/office/drawing/2014/main" id="{650D1534-F0D7-4AB8-ACB9-578FEEBC9BA5}"/>
                  </a:ext>
                </a:extLst>
              </p:cNvPr>
              <p:cNvSpPr/>
              <p:nvPr/>
            </p:nvSpPr>
            <p:spPr bwMode="auto">
              <a:xfrm>
                <a:off x="1148987" y="4375185"/>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1" name="Rectangle 690">
                <a:extLst>
                  <a:ext uri="{FF2B5EF4-FFF2-40B4-BE49-F238E27FC236}">
                    <a16:creationId xmlns:a16="http://schemas.microsoft.com/office/drawing/2014/main" id="{52FBC6D3-F148-4501-A351-B39CC3A65F87}"/>
                  </a:ext>
                </a:extLst>
              </p:cNvPr>
              <p:cNvSpPr/>
              <p:nvPr/>
            </p:nvSpPr>
            <p:spPr bwMode="auto">
              <a:xfrm>
                <a:off x="1148987" y="4562304"/>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2" name="Rectangle 691">
                <a:extLst>
                  <a:ext uri="{FF2B5EF4-FFF2-40B4-BE49-F238E27FC236}">
                    <a16:creationId xmlns:a16="http://schemas.microsoft.com/office/drawing/2014/main" id="{EF08BCAD-F7ED-403E-B88E-219F246F45C9}"/>
                  </a:ext>
                </a:extLst>
              </p:cNvPr>
              <p:cNvSpPr/>
              <p:nvPr/>
            </p:nvSpPr>
            <p:spPr bwMode="auto">
              <a:xfrm>
                <a:off x="1508587" y="4384300"/>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3" name="Rectangle 692">
                <a:extLst>
                  <a:ext uri="{FF2B5EF4-FFF2-40B4-BE49-F238E27FC236}">
                    <a16:creationId xmlns:a16="http://schemas.microsoft.com/office/drawing/2014/main" id="{3D2532F3-0454-406A-A68E-00EB4924667E}"/>
                  </a:ext>
                </a:extLst>
              </p:cNvPr>
              <p:cNvSpPr/>
              <p:nvPr/>
            </p:nvSpPr>
            <p:spPr bwMode="auto">
              <a:xfrm>
                <a:off x="1878081" y="4384300"/>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4" name="Rectangle 693">
                <a:extLst>
                  <a:ext uri="{FF2B5EF4-FFF2-40B4-BE49-F238E27FC236}">
                    <a16:creationId xmlns:a16="http://schemas.microsoft.com/office/drawing/2014/main" id="{90B09B7F-2069-4F5A-9D8B-21731216DAEB}"/>
                  </a:ext>
                </a:extLst>
              </p:cNvPr>
              <p:cNvSpPr/>
              <p:nvPr/>
            </p:nvSpPr>
            <p:spPr bwMode="auto">
              <a:xfrm>
                <a:off x="1677405" y="4562304"/>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5" name="Oval 694">
                <a:extLst>
                  <a:ext uri="{FF2B5EF4-FFF2-40B4-BE49-F238E27FC236}">
                    <a16:creationId xmlns:a16="http://schemas.microsoft.com/office/drawing/2014/main" id="{78A7362D-305E-4787-BC45-698CA23E8E5B}"/>
                  </a:ext>
                </a:extLst>
              </p:cNvPr>
              <p:cNvSpPr/>
              <p:nvPr/>
            </p:nvSpPr>
            <p:spPr bwMode="auto">
              <a:xfrm>
                <a:off x="1328668" y="4562304"/>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6" name="Oval 695">
                <a:extLst>
                  <a:ext uri="{FF2B5EF4-FFF2-40B4-BE49-F238E27FC236}">
                    <a16:creationId xmlns:a16="http://schemas.microsoft.com/office/drawing/2014/main" id="{2F175626-AC36-48CA-9901-F50D24F3D7D1}"/>
                  </a:ext>
                </a:extLst>
              </p:cNvPr>
              <p:cNvSpPr/>
              <p:nvPr/>
            </p:nvSpPr>
            <p:spPr bwMode="auto">
              <a:xfrm>
                <a:off x="2053603" y="4562304"/>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7" name="Freeform: Shape 696">
                <a:extLst>
                  <a:ext uri="{FF2B5EF4-FFF2-40B4-BE49-F238E27FC236}">
                    <a16:creationId xmlns:a16="http://schemas.microsoft.com/office/drawing/2014/main" id="{D0DE6BBF-D634-4138-8B72-41FB9AABD29E}"/>
                  </a:ext>
                </a:extLst>
              </p:cNvPr>
              <p:cNvSpPr/>
              <p:nvPr/>
            </p:nvSpPr>
            <p:spPr bwMode="auto">
              <a:xfrm rot="5400000">
                <a:off x="1322777" y="4018987"/>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8" name="Freeform: Shape 697">
                <a:extLst>
                  <a:ext uri="{FF2B5EF4-FFF2-40B4-BE49-F238E27FC236}">
                    <a16:creationId xmlns:a16="http://schemas.microsoft.com/office/drawing/2014/main" id="{BF0A9D01-B280-420D-8D99-A77E242A855E}"/>
                  </a:ext>
                </a:extLst>
              </p:cNvPr>
              <p:cNvSpPr/>
              <p:nvPr/>
            </p:nvSpPr>
            <p:spPr bwMode="auto">
              <a:xfrm rot="16200000" flipH="1">
                <a:off x="1871347" y="4018987"/>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9" name="Freeform: Shape 698">
                <a:extLst>
                  <a:ext uri="{FF2B5EF4-FFF2-40B4-BE49-F238E27FC236}">
                    <a16:creationId xmlns:a16="http://schemas.microsoft.com/office/drawing/2014/main" id="{C1E4AAED-8767-4A65-9358-0CED4E030C37}"/>
                  </a:ext>
                </a:extLst>
              </p:cNvPr>
              <p:cNvSpPr/>
              <p:nvPr/>
            </p:nvSpPr>
            <p:spPr bwMode="auto">
              <a:xfrm rot="16200000" flipV="1">
                <a:off x="1322777" y="3473933"/>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0" name="Freeform: Shape 699">
                <a:extLst>
                  <a:ext uri="{FF2B5EF4-FFF2-40B4-BE49-F238E27FC236}">
                    <a16:creationId xmlns:a16="http://schemas.microsoft.com/office/drawing/2014/main" id="{E46A717F-28EE-4430-9AA2-233488C1BAA0}"/>
                  </a:ext>
                </a:extLst>
              </p:cNvPr>
              <p:cNvSpPr/>
              <p:nvPr/>
            </p:nvSpPr>
            <p:spPr bwMode="auto">
              <a:xfrm rot="5400000" flipH="1" flipV="1">
                <a:off x="1871347" y="3473933"/>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701" name="Group 700">
            <a:extLst>
              <a:ext uri="{FF2B5EF4-FFF2-40B4-BE49-F238E27FC236}">
                <a16:creationId xmlns:a16="http://schemas.microsoft.com/office/drawing/2014/main" id="{4CAC1F4A-70BB-4A52-8182-3B54A0C5932C}"/>
              </a:ext>
              <a:ext uri="{C183D7F6-B498-43B3-948B-1728B52AA6E4}">
                <adec:decorative xmlns:adec="http://schemas.microsoft.com/office/drawing/2017/decorative" val="1"/>
              </a:ext>
            </a:extLst>
          </p:cNvPr>
          <p:cNvGrpSpPr/>
          <p:nvPr/>
        </p:nvGrpSpPr>
        <p:grpSpPr>
          <a:xfrm>
            <a:off x="4282250" y="1898583"/>
            <a:ext cx="775545" cy="775545"/>
            <a:chOff x="4323814" y="1898583"/>
            <a:chExt cx="775545" cy="775545"/>
          </a:xfrm>
        </p:grpSpPr>
        <p:sp>
          <p:nvSpPr>
            <p:cNvPr id="702" name="Oval 701">
              <a:extLst>
                <a:ext uri="{FF2B5EF4-FFF2-40B4-BE49-F238E27FC236}">
                  <a16:creationId xmlns:a16="http://schemas.microsoft.com/office/drawing/2014/main" id="{397FB5B5-4C59-40A6-AD38-D351659741B0}"/>
                </a:ext>
              </a:extLst>
            </p:cNvPr>
            <p:cNvSpPr/>
            <p:nvPr/>
          </p:nvSpPr>
          <p:spPr bwMode="auto">
            <a:xfrm>
              <a:off x="4323814" y="1898583"/>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703" name="Group 702" descr="server">
              <a:extLst>
                <a:ext uri="{FF2B5EF4-FFF2-40B4-BE49-F238E27FC236}">
                  <a16:creationId xmlns:a16="http://schemas.microsoft.com/office/drawing/2014/main" id="{65F46B71-BDF1-489A-9ED5-10BFE440564B}"/>
                </a:ext>
              </a:extLst>
            </p:cNvPr>
            <p:cNvGrpSpPr/>
            <p:nvPr/>
          </p:nvGrpSpPr>
          <p:grpSpPr>
            <a:xfrm>
              <a:off x="4580697" y="2060617"/>
              <a:ext cx="261778" cy="451476"/>
              <a:chOff x="789783" y="2138184"/>
              <a:chExt cx="261778" cy="451476"/>
            </a:xfrm>
          </p:grpSpPr>
          <p:sp>
            <p:nvSpPr>
              <p:cNvPr id="704" name="Rectangle 703">
                <a:extLst>
                  <a:ext uri="{FF2B5EF4-FFF2-40B4-BE49-F238E27FC236}">
                    <a16:creationId xmlns:a16="http://schemas.microsoft.com/office/drawing/2014/main" id="{4BC244B7-1210-478B-8C7D-0AD87B908750}"/>
                  </a:ext>
                </a:extLst>
              </p:cNvPr>
              <p:cNvSpPr/>
              <p:nvPr/>
            </p:nvSpPr>
            <p:spPr bwMode="auto">
              <a:xfrm>
                <a:off x="789783" y="2138184"/>
                <a:ext cx="261778" cy="451476"/>
              </a:xfrm>
              <a:prstGeom prst="rect">
                <a:avLst/>
              </a:prstGeom>
              <a:no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5" name="Rectangle 704">
                <a:extLst>
                  <a:ext uri="{FF2B5EF4-FFF2-40B4-BE49-F238E27FC236}">
                    <a16:creationId xmlns:a16="http://schemas.microsoft.com/office/drawing/2014/main" id="{1C2D150F-AD9D-4DC2-B10A-9ACA76689637}"/>
                  </a:ext>
                </a:extLst>
              </p:cNvPr>
              <p:cNvSpPr/>
              <p:nvPr/>
            </p:nvSpPr>
            <p:spPr bwMode="auto">
              <a:xfrm>
                <a:off x="840371" y="220248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6" name="Rectangle 705">
                <a:extLst>
                  <a:ext uri="{FF2B5EF4-FFF2-40B4-BE49-F238E27FC236}">
                    <a16:creationId xmlns:a16="http://schemas.microsoft.com/office/drawing/2014/main" id="{33CC8D07-F9FD-45DA-BD73-A5EA432AFD38}"/>
                  </a:ext>
                </a:extLst>
              </p:cNvPr>
              <p:cNvSpPr/>
              <p:nvPr/>
            </p:nvSpPr>
            <p:spPr bwMode="auto">
              <a:xfrm>
                <a:off x="840371" y="225633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7" name="Rectangle 706">
                <a:extLst>
                  <a:ext uri="{FF2B5EF4-FFF2-40B4-BE49-F238E27FC236}">
                    <a16:creationId xmlns:a16="http://schemas.microsoft.com/office/drawing/2014/main" id="{29CD465E-4C26-4B1A-97FF-FBA4EF14FDA0}"/>
                  </a:ext>
                </a:extLst>
              </p:cNvPr>
              <p:cNvSpPr/>
              <p:nvPr/>
            </p:nvSpPr>
            <p:spPr bwMode="auto">
              <a:xfrm>
                <a:off x="840371" y="2500865"/>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0864037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cxnSp>
        <p:nvCxnSpPr>
          <p:cNvPr id="118" name="Straight Connector 117">
            <a:extLst>
              <a:ext uri="{FF2B5EF4-FFF2-40B4-BE49-F238E27FC236}">
                <a16:creationId xmlns:a16="http://schemas.microsoft.com/office/drawing/2014/main" id="{C1811B82-D30A-4F51-BDA1-B09466E09DAB}"/>
              </a:ext>
              <a:ext uri="{C183D7F6-B498-43B3-948B-1728B52AA6E4}">
                <adec:decorative xmlns:adec="http://schemas.microsoft.com/office/drawing/2017/decorative" val="1"/>
              </a:ext>
            </a:extLst>
          </p:cNvPr>
          <p:cNvCxnSpPr>
            <a:cxnSpLocks/>
          </p:cNvCxnSpPr>
          <p:nvPr/>
        </p:nvCxnSpPr>
        <p:spPr>
          <a:xfrm flipV="1">
            <a:off x="600625" y="2948023"/>
            <a:ext cx="5064131" cy="16605"/>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E3AD6632-FFA9-4878-9876-459AC89FDA8D}"/>
              </a:ext>
              <a:ext uri="{C183D7F6-B498-43B3-948B-1728B52AA6E4}">
                <adec:decorative xmlns:adec="http://schemas.microsoft.com/office/drawing/2017/decorative" val="1"/>
              </a:ext>
            </a:extLst>
          </p:cNvPr>
          <p:cNvCxnSpPr>
            <a:cxnSpLocks/>
          </p:cNvCxnSpPr>
          <p:nvPr/>
        </p:nvCxnSpPr>
        <p:spPr>
          <a:xfrm>
            <a:off x="604877" y="4033478"/>
            <a:ext cx="5059879"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9DFD42D-DAF0-47AE-8B7B-59319DB6ED7E}"/>
              </a:ext>
              <a:ext uri="{C183D7F6-B498-43B3-948B-1728B52AA6E4}">
                <adec:decorative xmlns:adec="http://schemas.microsoft.com/office/drawing/2017/decorative" val="1"/>
              </a:ext>
            </a:extLst>
          </p:cNvPr>
          <p:cNvCxnSpPr>
            <a:cxnSpLocks/>
          </p:cNvCxnSpPr>
          <p:nvPr/>
        </p:nvCxnSpPr>
        <p:spPr>
          <a:xfrm>
            <a:off x="596373" y="5690034"/>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BF0D755-9E76-454E-B7F6-A7F89EF5CA2E}"/>
              </a:ext>
              <a:ext uri="{C183D7F6-B498-43B3-948B-1728B52AA6E4}">
                <adec:decorative xmlns:adec="http://schemas.microsoft.com/office/drawing/2017/decorative" val="1"/>
              </a:ext>
            </a:extLst>
          </p:cNvPr>
          <p:cNvCxnSpPr>
            <a:cxnSpLocks/>
          </p:cNvCxnSpPr>
          <p:nvPr/>
        </p:nvCxnSpPr>
        <p:spPr>
          <a:xfrm>
            <a:off x="600625" y="4661668"/>
            <a:ext cx="5059879"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Title 1">
            <a:extLst>
              <a:ext uri="{FF2B5EF4-FFF2-40B4-BE49-F238E27FC236}">
                <a16:creationId xmlns:a16="http://schemas.microsoft.com/office/drawing/2014/main" id="{C773C9FC-0ADC-47D8-A200-1FEDDF358297}"/>
              </a:ext>
            </a:extLst>
          </p:cNvPr>
          <p:cNvSpPr>
            <a:spLocks noGrp="1"/>
          </p:cNvSpPr>
          <p:nvPr>
            <p:ph type="title"/>
          </p:nvPr>
        </p:nvSpPr>
        <p:spPr/>
        <p:txBody>
          <a:bodyPr/>
          <a:lstStyle/>
          <a:p>
            <a:pPr>
              <a:buClr>
                <a:schemeClr val="dk1"/>
              </a:buClr>
              <a:buSzPts val="1800"/>
            </a:pPr>
            <a:r>
              <a:rPr lang="en-US" spc="0">
                <a:ln>
                  <a:noFill/>
                </a:ln>
                <a:solidFill>
                  <a:srgbClr val="50E6FF"/>
                </a:solidFill>
                <a:latin typeface="Segoe UI Semibold"/>
                <a:ea typeface="+mj-ea"/>
                <a:cs typeface="+mj-cs"/>
              </a:rPr>
              <a:t>Linux and open source databases offerings on Azure</a:t>
            </a:r>
          </a:p>
        </p:txBody>
      </p:sp>
      <p:sp>
        <p:nvSpPr>
          <p:cNvPr id="5" name="Text Placeholder 4">
            <a:extLst>
              <a:ext uri="{FF2B5EF4-FFF2-40B4-BE49-F238E27FC236}">
                <a16:creationId xmlns:a16="http://schemas.microsoft.com/office/drawing/2014/main" id="{C94A09B8-DA35-4C87-82A2-5967B84B1E63}"/>
              </a:ext>
            </a:extLst>
          </p:cNvPr>
          <p:cNvSpPr>
            <a:spLocks noGrp="1"/>
          </p:cNvSpPr>
          <p:nvPr>
            <p:ph type="body" sz="quarter" idx="4294967295"/>
          </p:nvPr>
        </p:nvSpPr>
        <p:spPr>
          <a:xfrm>
            <a:off x="579558" y="1766888"/>
            <a:ext cx="2605088" cy="4884414"/>
          </a:xfrm>
        </p:spPr>
        <p:txBody>
          <a:bodyPr/>
          <a:lstStyle/>
          <a:p>
            <a:pPr lvl="0"/>
            <a:r>
              <a:rPr lang="en-US" sz="1400"/>
              <a:t>Integrated support</a:t>
            </a:r>
          </a:p>
          <a:p>
            <a:pPr lvl="0"/>
            <a:r>
              <a:rPr lang="en-US" sz="1400"/>
              <a:t>Azure Red Hat OpenShift</a:t>
            </a:r>
          </a:p>
          <a:p>
            <a:pPr lvl="0"/>
            <a:r>
              <a:rPr lang="en-US" sz="1400"/>
              <a:t>Ansible integration</a:t>
            </a:r>
          </a:p>
          <a:p>
            <a:pPr lvl="0"/>
            <a:r>
              <a:rPr lang="en-US" sz="1400"/>
              <a:t>JBoss integration</a:t>
            </a:r>
          </a:p>
          <a:p>
            <a:endParaRPr lang="en-US" sz="500"/>
          </a:p>
          <a:p>
            <a:endParaRPr lang="en-US" sz="1400"/>
          </a:p>
          <a:p>
            <a:r>
              <a:rPr lang="en-US" sz="1400"/>
              <a:t>Integrated support</a:t>
            </a:r>
          </a:p>
          <a:p>
            <a:r>
              <a:rPr lang="en-US" sz="1400"/>
              <a:t>Azure Tuned Kernel</a:t>
            </a:r>
          </a:p>
          <a:p>
            <a:r>
              <a:rPr lang="en-US" sz="1400"/>
              <a:t>SAP integration</a:t>
            </a:r>
          </a:p>
          <a:p>
            <a:pPr lvl="0"/>
            <a:endParaRPr lang="en-US" sz="500"/>
          </a:p>
          <a:p>
            <a:endParaRPr lang="en-US" sz="500"/>
          </a:p>
          <a:p>
            <a:pPr>
              <a:spcBef>
                <a:spcPts val="1500"/>
              </a:spcBef>
            </a:pPr>
            <a:r>
              <a:rPr lang="en-US" sz="1400"/>
              <a:t>Azure Tuned Kernel</a:t>
            </a:r>
          </a:p>
          <a:p>
            <a:pPr lvl="0"/>
            <a:endParaRPr lang="en-US" sz="1400"/>
          </a:p>
          <a:p>
            <a:pPr lvl="0"/>
            <a:endParaRPr lang="en-US" sz="1400"/>
          </a:p>
          <a:p>
            <a:r>
              <a:rPr lang="en-US" sz="1400"/>
              <a:t>Fully supported on Azure</a:t>
            </a:r>
          </a:p>
          <a:p>
            <a:endParaRPr lang="en-US" sz="1400"/>
          </a:p>
          <a:p>
            <a:pPr marL="0" indent="0">
              <a:buNone/>
            </a:pPr>
            <a:endParaRPr lang="en-US" sz="1400"/>
          </a:p>
          <a:p>
            <a:pPr>
              <a:spcBef>
                <a:spcPts val="1500"/>
              </a:spcBef>
            </a:pPr>
            <a:r>
              <a:rPr lang="en-US" sz="1400"/>
              <a:t>Fully managed container service</a:t>
            </a:r>
          </a:p>
          <a:p>
            <a:pPr lvl="0"/>
            <a:endParaRPr lang="en-US" sz="1400"/>
          </a:p>
        </p:txBody>
      </p:sp>
      <p:sp>
        <p:nvSpPr>
          <p:cNvPr id="60" name="Title 1">
            <a:extLst>
              <a:ext uri="{FF2B5EF4-FFF2-40B4-BE49-F238E27FC236}">
                <a16:creationId xmlns:a16="http://schemas.microsoft.com/office/drawing/2014/main" id="{ECF468A8-5982-4618-802D-FC8ACAC8A88F}"/>
              </a:ext>
            </a:extLst>
          </p:cNvPr>
          <p:cNvSpPr txBox="1">
            <a:spLocks/>
          </p:cNvSpPr>
          <p:nvPr/>
        </p:nvSpPr>
        <p:spPr>
          <a:xfrm>
            <a:off x="579558" y="1285121"/>
            <a:ext cx="5289795" cy="307777"/>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buClr>
                <a:schemeClr val="dk1"/>
              </a:buClr>
              <a:buSzPts val="1800"/>
            </a:pPr>
            <a:r>
              <a:rPr lang="en-US" sz="2000">
                <a:solidFill>
                  <a:schemeClr val="accent1"/>
                </a:solidFill>
                <a:ea typeface="+mj-ea"/>
                <a:cs typeface="Calibri Light" panose="020F0302020204030204" pitchFamily="34" charset="0"/>
              </a:rPr>
              <a:t>Unique Azure offerings for Linux and containers</a:t>
            </a:r>
          </a:p>
        </p:txBody>
      </p:sp>
      <p:sp>
        <p:nvSpPr>
          <p:cNvPr id="3" name="Title 1">
            <a:extLst>
              <a:ext uri="{FF2B5EF4-FFF2-40B4-BE49-F238E27FC236}">
                <a16:creationId xmlns:a16="http://schemas.microsoft.com/office/drawing/2014/main" id="{8A1F276B-BEF3-45F6-962A-7FFCD342C9CF}"/>
              </a:ext>
            </a:extLst>
          </p:cNvPr>
          <p:cNvSpPr txBox="1">
            <a:spLocks/>
          </p:cNvSpPr>
          <p:nvPr/>
        </p:nvSpPr>
        <p:spPr>
          <a:xfrm>
            <a:off x="6458015" y="1285121"/>
            <a:ext cx="4452653" cy="615553"/>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buClr>
                <a:schemeClr val="dk1"/>
              </a:buClr>
              <a:buSzPts val="1800"/>
            </a:pPr>
            <a:r>
              <a:rPr lang="en-US" sz="2000">
                <a:solidFill>
                  <a:schemeClr val="accent1"/>
                </a:solidFill>
                <a:ea typeface="+mj-ea"/>
                <a:cs typeface="Calibri Light" panose="020F0302020204030204" pitchFamily="34" charset="0"/>
              </a:rPr>
              <a:t>Unique Azure offerings for SQL Server and open source databases</a:t>
            </a:r>
          </a:p>
        </p:txBody>
      </p:sp>
      <p:sp>
        <p:nvSpPr>
          <p:cNvPr id="39" name="Text Placeholder 4">
            <a:extLst>
              <a:ext uri="{FF2B5EF4-FFF2-40B4-BE49-F238E27FC236}">
                <a16:creationId xmlns:a16="http://schemas.microsoft.com/office/drawing/2014/main" id="{7B9400B3-C143-4C68-AB8A-3B7EA100308B}"/>
              </a:ext>
            </a:extLst>
          </p:cNvPr>
          <p:cNvSpPr txBox="1">
            <a:spLocks/>
          </p:cNvSpPr>
          <p:nvPr/>
        </p:nvSpPr>
        <p:spPr>
          <a:xfrm>
            <a:off x="6460781" y="2092515"/>
            <a:ext cx="2464421" cy="458330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sz="1600" kern="1200" spc="0" baseline="0">
                <a:solidFill>
                  <a:schemeClr val="tx2"/>
                </a:soli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200" b="1"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a:t>Compute options for every workload </a:t>
            </a:r>
          </a:p>
          <a:p>
            <a:r>
              <a:rPr lang="en-US" sz="1400"/>
              <a:t>Robust monitoring, backup and governance tools </a:t>
            </a:r>
          </a:p>
          <a:p>
            <a:r>
              <a:rPr lang="en-US" sz="1400"/>
              <a:t>Incentives to save money</a:t>
            </a:r>
          </a:p>
          <a:p>
            <a:endParaRPr lang="en-US" sz="1400"/>
          </a:p>
          <a:p>
            <a:pPr>
              <a:spcBef>
                <a:spcPts val="1000"/>
              </a:spcBef>
            </a:pPr>
            <a:r>
              <a:rPr lang="en-US" sz="1400"/>
              <a:t>Low TCO with built-in HA</a:t>
            </a:r>
          </a:p>
          <a:p>
            <a:pPr>
              <a:spcBef>
                <a:spcPts val="1000"/>
              </a:spcBef>
            </a:pPr>
            <a:r>
              <a:rPr lang="en-US" sz="1400"/>
              <a:t>Fully managed community versions</a:t>
            </a:r>
          </a:p>
          <a:p>
            <a:pPr>
              <a:spcBef>
                <a:spcPts val="1000"/>
              </a:spcBef>
            </a:pPr>
            <a:r>
              <a:rPr lang="en-US" sz="1400"/>
              <a:t>Industry-leading compliance and layers of security </a:t>
            </a:r>
          </a:p>
          <a:p>
            <a:endParaRPr lang="en-US" sz="1050"/>
          </a:p>
          <a:p>
            <a:pPr>
              <a:spcBef>
                <a:spcPts val="1300"/>
              </a:spcBef>
            </a:pPr>
            <a:r>
              <a:rPr lang="en-US" sz="1400"/>
              <a:t>Visual Studio and VS Code for Database services</a:t>
            </a:r>
          </a:p>
          <a:p>
            <a:endParaRPr lang="en-US" sz="1400"/>
          </a:p>
          <a:p>
            <a:r>
              <a:rPr lang="en-US" sz="1400"/>
              <a:t>Fully Managed Cache service with Redis for scalable apps</a:t>
            </a:r>
          </a:p>
        </p:txBody>
      </p:sp>
      <p:cxnSp>
        <p:nvCxnSpPr>
          <p:cNvPr id="43" name="Straight Connector 42">
            <a:extLst>
              <a:ext uri="{FF2B5EF4-FFF2-40B4-BE49-F238E27FC236}">
                <a16:creationId xmlns:a16="http://schemas.microsoft.com/office/drawing/2014/main" id="{45691BC8-E944-4400-A010-8C7CFEED6C4A}"/>
              </a:ext>
              <a:ext uri="{C183D7F6-B498-43B3-948B-1728B52AA6E4}">
                <adec:decorative xmlns:adec="http://schemas.microsoft.com/office/drawing/2017/decorative" val="1"/>
              </a:ext>
            </a:extLst>
          </p:cNvPr>
          <p:cNvCxnSpPr>
            <a:cxnSpLocks/>
          </p:cNvCxnSpPr>
          <p:nvPr/>
        </p:nvCxnSpPr>
        <p:spPr>
          <a:xfrm flipV="1">
            <a:off x="6458015" y="3562949"/>
            <a:ext cx="5064131" cy="16605"/>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E67AF3C-4E6C-462D-90C3-223C47FA7C13}"/>
              </a:ext>
              <a:ext uri="{C183D7F6-B498-43B3-948B-1728B52AA6E4}">
                <adec:decorative xmlns:adec="http://schemas.microsoft.com/office/drawing/2017/decorative" val="1"/>
              </a:ext>
            </a:extLst>
          </p:cNvPr>
          <p:cNvCxnSpPr>
            <a:cxnSpLocks/>
          </p:cNvCxnSpPr>
          <p:nvPr/>
        </p:nvCxnSpPr>
        <p:spPr>
          <a:xfrm>
            <a:off x="602750" y="6572623"/>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25E05AF-293A-4684-B891-7F5AAF4B09EB}"/>
              </a:ext>
              <a:ext uri="{C183D7F6-B498-43B3-948B-1728B52AA6E4}">
                <adec:decorative xmlns:adec="http://schemas.microsoft.com/office/drawing/2017/decorative" val="1"/>
              </a:ext>
            </a:extLst>
          </p:cNvPr>
          <p:cNvCxnSpPr>
            <a:cxnSpLocks/>
          </p:cNvCxnSpPr>
          <p:nvPr/>
        </p:nvCxnSpPr>
        <p:spPr>
          <a:xfrm>
            <a:off x="6428516" y="5256060"/>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7" name="Picture 106" descr="Image result for linux Cent logo">
            <a:extLst>
              <a:ext uri="{FF2B5EF4-FFF2-40B4-BE49-F238E27FC236}">
                <a16:creationId xmlns:a16="http://schemas.microsoft.com/office/drawing/2014/main" id="{1BC3A235-C850-4629-8562-AF68A281394D}"/>
              </a:ext>
            </a:extLst>
          </p:cNvPr>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4431344" y="4193850"/>
            <a:ext cx="1128440" cy="303359"/>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 descr="Image result for ubuntu">
            <a:extLst>
              <a:ext uri="{FF2B5EF4-FFF2-40B4-BE49-F238E27FC236}">
                <a16:creationId xmlns:a16="http://schemas.microsoft.com/office/drawing/2014/main" id="{C234DB42-2293-41E8-AE22-A72BC7BE6433}"/>
              </a:ext>
            </a:extLst>
          </p:cNvPr>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3082343" y="4214913"/>
            <a:ext cx="1124464" cy="253673"/>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6" descr="Image result for debian">
            <a:extLst>
              <a:ext uri="{FF2B5EF4-FFF2-40B4-BE49-F238E27FC236}">
                <a16:creationId xmlns:a16="http://schemas.microsoft.com/office/drawing/2014/main" id="{5221270B-1D0D-4D0A-8B3E-03D2BB4B8921}"/>
              </a:ext>
            </a:extLst>
          </p:cNvPr>
          <p:cNvPicPr>
            <a:picLocks noChangeAspect="1" noChangeArrowheads="1"/>
          </p:cNvPicPr>
          <p:nvPr/>
        </p:nvPicPr>
        <p:blipFill rotWithShape="1">
          <a:blip r:embed="rId5" cstate="hq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r="-409"/>
          <a:stretch/>
        </p:blipFill>
        <p:spPr bwMode="auto">
          <a:xfrm>
            <a:off x="3957423" y="5016496"/>
            <a:ext cx="862385" cy="217804"/>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a:extLst>
              <a:ext uri="{FF2B5EF4-FFF2-40B4-BE49-F238E27FC236}">
                <a16:creationId xmlns:a16="http://schemas.microsoft.com/office/drawing/2014/main" id="{432EA9FC-D59F-4BB2-ACBA-05745A8104BB}"/>
              </a:ext>
              <a:ext uri="{C183D7F6-B498-43B3-948B-1728B52AA6E4}">
                <adec:decorative xmlns:adec="http://schemas.microsoft.com/office/drawing/2017/decorative" val="1"/>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tretch>
            <a:fillRect/>
          </a:stretch>
        </p:blipFill>
        <p:spPr bwMode="auto">
          <a:xfrm>
            <a:off x="5094126" y="4963836"/>
            <a:ext cx="514488" cy="32567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9550EB7E-48D2-4C3E-8430-63452EBE21F4}"/>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3188936" y="4945746"/>
            <a:ext cx="490964" cy="374309"/>
          </a:xfrm>
          <a:prstGeom prst="rect">
            <a:avLst/>
          </a:prstGeom>
        </p:spPr>
      </p:pic>
      <p:sp>
        <p:nvSpPr>
          <p:cNvPr id="6" name="TextBox 5">
            <a:extLst>
              <a:ext uri="{FF2B5EF4-FFF2-40B4-BE49-F238E27FC236}">
                <a16:creationId xmlns:a16="http://schemas.microsoft.com/office/drawing/2014/main" id="{ED03C1D5-0DAB-40F4-BEA3-B0F1262EF65C}"/>
              </a:ext>
            </a:extLst>
          </p:cNvPr>
          <p:cNvSpPr txBox="1"/>
          <p:nvPr/>
        </p:nvSpPr>
        <p:spPr>
          <a:xfrm>
            <a:off x="2839825" y="5368179"/>
            <a:ext cx="1113002" cy="138499"/>
          </a:xfrm>
          <a:prstGeom prst="rect">
            <a:avLst/>
          </a:prstGeom>
          <a:noFill/>
        </p:spPr>
        <p:txBody>
          <a:bodyPr wrap="square" lIns="0" tIns="0" rIns="0" bIns="0" rtlCol="0">
            <a:spAutoFit/>
          </a:bodyPr>
          <a:lstStyle/>
          <a:p>
            <a:pPr algn="l"/>
            <a:r>
              <a:rPr lang="en-US" sz="900">
                <a:gradFill>
                  <a:gsLst>
                    <a:gs pos="2917">
                      <a:schemeClr val="tx1"/>
                    </a:gs>
                    <a:gs pos="30000">
                      <a:schemeClr val="tx1"/>
                    </a:gs>
                  </a:gsLst>
                  <a:lin ang="5400000" scaled="0"/>
                </a:gradFill>
              </a:rPr>
              <a:t>Core OS Replacement</a:t>
            </a:r>
          </a:p>
        </p:txBody>
      </p:sp>
      <p:pic>
        <p:nvPicPr>
          <p:cNvPr id="1026" name="Picture 2" descr="Azure Kubernetes Service (AKS) - CNCF Cloud Native Interactive ...">
            <a:extLst>
              <a:ext uri="{FF2B5EF4-FFF2-40B4-BE49-F238E27FC236}">
                <a16:creationId xmlns:a16="http://schemas.microsoft.com/office/drawing/2014/main" id="{637F321F-DD99-41FD-969B-D7BE381A6D7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88646" y="5909812"/>
            <a:ext cx="885156" cy="53293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Red Hat">
            <a:extLst>
              <a:ext uri="{FF2B5EF4-FFF2-40B4-BE49-F238E27FC236}">
                <a16:creationId xmlns:a16="http://schemas.microsoft.com/office/drawing/2014/main" id="{B8A35791-C87A-43F9-A4D4-0BAF4E14D3F1}"/>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506358" y="5852901"/>
            <a:ext cx="1178459" cy="58923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96B382BC-08CB-40EE-85ED-2985FC61B6EA}"/>
              </a:ext>
              <a:ext uri="{C183D7F6-B498-43B3-948B-1728B52AA6E4}">
                <adec:decorative xmlns:adec="http://schemas.microsoft.com/office/drawing/2017/decorative" val="1"/>
              </a:ext>
            </a:extLst>
          </p:cNvPr>
          <p:cNvCxnSpPr>
            <a:cxnSpLocks/>
          </p:cNvCxnSpPr>
          <p:nvPr/>
        </p:nvCxnSpPr>
        <p:spPr>
          <a:xfrm>
            <a:off x="6393136" y="6095488"/>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5" name="Group 14" descr="logos">
            <a:extLst>
              <a:ext uri="{FF2B5EF4-FFF2-40B4-BE49-F238E27FC236}">
                <a16:creationId xmlns:a16="http://schemas.microsoft.com/office/drawing/2014/main" id="{3F5289D3-37B6-4035-806B-FA0B6284F4AE}"/>
              </a:ext>
            </a:extLst>
          </p:cNvPr>
          <p:cNvGrpSpPr/>
          <p:nvPr/>
        </p:nvGrpSpPr>
        <p:grpSpPr>
          <a:xfrm>
            <a:off x="9328120" y="2024143"/>
            <a:ext cx="2084552" cy="4795637"/>
            <a:chOff x="9328120" y="2024143"/>
            <a:chExt cx="2084552" cy="4795637"/>
          </a:xfrm>
        </p:grpSpPr>
        <p:pic>
          <p:nvPicPr>
            <p:cNvPr id="7" name="Picture 58" descr="Image result for mySQL">
              <a:extLst>
                <a:ext uri="{FF2B5EF4-FFF2-40B4-BE49-F238E27FC236}">
                  <a16:creationId xmlns:a16="http://schemas.microsoft.com/office/drawing/2014/main" id="{AE3D00A0-C205-4AD5-B1E4-2BF47EA008C7}"/>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10379306" y="2107678"/>
              <a:ext cx="736809" cy="48881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LOGO POSTGRESQL - Play Jigsaw Puzzle for free Puzzle Factory">
              <a:extLst>
                <a:ext uri="{FF2B5EF4-FFF2-40B4-BE49-F238E27FC236}">
                  <a16:creationId xmlns:a16="http://schemas.microsoft.com/office/drawing/2014/main" id="{D03367C1-2955-4D54-ADE8-E1500EDA139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460054" y="2024143"/>
              <a:ext cx="590293" cy="65588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10 reasons to migrate to MariaDB (if still using MySQL) - Seravo">
              <a:extLst>
                <a:ext uri="{FF2B5EF4-FFF2-40B4-BE49-F238E27FC236}">
                  <a16:creationId xmlns:a16="http://schemas.microsoft.com/office/drawing/2014/main" id="{B6878812-A371-420D-9939-7EC54A65B70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427695" y="2787038"/>
              <a:ext cx="736809" cy="498859"/>
            </a:xfrm>
            <a:prstGeom prst="rect">
              <a:avLst/>
            </a:prstGeom>
            <a:noFill/>
            <a:extLst>
              <a:ext uri="{909E8E84-426E-40DD-AFC4-6F175D3DCCD1}">
                <a14:hiddenFill xmlns:a14="http://schemas.microsoft.com/office/drawing/2010/main">
                  <a:solidFill>
                    <a:srgbClr val="FFFFFF"/>
                  </a:solidFill>
                </a14:hiddenFill>
              </a:ext>
            </a:extLst>
          </p:spPr>
        </p:pic>
        <p:pic>
          <p:nvPicPr>
            <p:cNvPr id="40" name="Graphic 39">
              <a:extLst>
                <a:ext uri="{FF2B5EF4-FFF2-40B4-BE49-F238E27FC236}">
                  <a16:creationId xmlns:a16="http://schemas.microsoft.com/office/drawing/2014/main" id="{26A57119-7A91-4DE0-A841-13BE74C7CC3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573267" y="3691875"/>
              <a:ext cx="674709" cy="674709"/>
            </a:xfrm>
            <a:prstGeom prst="rect">
              <a:avLst/>
            </a:prstGeom>
          </p:spPr>
        </p:pic>
        <p:pic>
          <p:nvPicPr>
            <p:cNvPr id="41" name="Graphic 40">
              <a:extLst>
                <a:ext uri="{FF2B5EF4-FFF2-40B4-BE49-F238E27FC236}">
                  <a16:creationId xmlns:a16="http://schemas.microsoft.com/office/drawing/2014/main" id="{EBC69007-8934-451F-8274-FF3DFC36636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472513" y="3682990"/>
              <a:ext cx="674709" cy="674709"/>
            </a:xfrm>
            <a:prstGeom prst="rect">
              <a:avLst/>
            </a:prstGeom>
          </p:spPr>
        </p:pic>
        <p:pic>
          <p:nvPicPr>
            <p:cNvPr id="42" name="Graphic 41">
              <a:extLst>
                <a:ext uri="{FF2B5EF4-FFF2-40B4-BE49-F238E27FC236}">
                  <a16:creationId xmlns:a16="http://schemas.microsoft.com/office/drawing/2014/main" id="{755F0C47-00C8-4359-B69F-7059A86DB75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489795" y="4503987"/>
              <a:ext cx="674709" cy="674709"/>
            </a:xfrm>
            <a:prstGeom prst="rect">
              <a:avLst/>
            </a:prstGeom>
          </p:spPr>
        </p:pic>
        <p:pic>
          <p:nvPicPr>
            <p:cNvPr id="44" name="Graphic 43">
              <a:extLst>
                <a:ext uri="{FF2B5EF4-FFF2-40B4-BE49-F238E27FC236}">
                  <a16:creationId xmlns:a16="http://schemas.microsoft.com/office/drawing/2014/main" id="{3FBF2A00-5FE7-4B98-9ADF-BBFB7907ADC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535815" y="2802341"/>
              <a:ext cx="585216" cy="585216"/>
            </a:xfrm>
            <a:prstGeom prst="rect">
              <a:avLst/>
            </a:prstGeom>
          </p:spPr>
        </p:pic>
        <p:pic>
          <p:nvPicPr>
            <p:cNvPr id="29" name="Graphic 28">
              <a:extLst>
                <a:ext uri="{FF2B5EF4-FFF2-40B4-BE49-F238E27FC236}">
                  <a16:creationId xmlns:a16="http://schemas.microsoft.com/office/drawing/2014/main" id="{FBBE6929-3286-42CE-AA6D-9CA4CD05E30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573267" y="4510132"/>
              <a:ext cx="674709" cy="674709"/>
            </a:xfrm>
            <a:prstGeom prst="rect">
              <a:avLst/>
            </a:prstGeom>
          </p:spPr>
        </p:pic>
        <p:pic>
          <p:nvPicPr>
            <p:cNvPr id="4098" name="Picture 2" descr="LaunchDarkly Visual Studio Code Extension">
              <a:extLst>
                <a:ext uri="{FF2B5EF4-FFF2-40B4-BE49-F238E27FC236}">
                  <a16:creationId xmlns:a16="http://schemas.microsoft.com/office/drawing/2014/main" id="{6E6E72BD-691E-441B-94E5-57D429C1F75C}"/>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379306" y="5448611"/>
              <a:ext cx="1033366" cy="516684"/>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visual-studio-2013-logo">
              <a:extLst>
                <a:ext uri="{FF2B5EF4-FFF2-40B4-BE49-F238E27FC236}">
                  <a16:creationId xmlns:a16="http://schemas.microsoft.com/office/drawing/2014/main" id="{56C260DA-3B5E-4D72-B908-4B5C84785617}"/>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28120" y="5406601"/>
              <a:ext cx="1178459" cy="58923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CF1CED9D-0B81-4E17-8FCD-75E5A802D82E}"/>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0084693" y="6230554"/>
              <a:ext cx="589226" cy="589226"/>
            </a:xfrm>
            <a:prstGeom prst="rect">
              <a:avLst/>
            </a:prstGeom>
          </p:spPr>
        </p:pic>
      </p:grpSp>
      <p:pic>
        <p:nvPicPr>
          <p:cNvPr id="16" name="圖片 16" descr="一張含有 畫畫, 標誌 的圖片&#10;&#10;自動產生的描述">
            <a:hlinkClick r:id="rId30"/>
            <a:extLst>
              <a:ext uri="{FF2B5EF4-FFF2-40B4-BE49-F238E27FC236}">
                <a16:creationId xmlns:a16="http://schemas.microsoft.com/office/drawing/2014/main" id="{058A1FE4-1FA7-46FD-9779-CBE1197455F2}"/>
              </a:ext>
            </a:extLst>
          </p:cNvPr>
          <p:cNvPicPr>
            <a:picLocks noChangeAspect="1"/>
          </p:cNvPicPr>
          <p:nvPr/>
        </p:nvPicPr>
        <p:blipFill>
          <a:blip r:embed="rId31"/>
          <a:stretch>
            <a:fillRect/>
          </a:stretch>
        </p:blipFill>
        <p:spPr>
          <a:xfrm>
            <a:off x="3522482" y="2089481"/>
            <a:ext cx="1470582" cy="361616"/>
          </a:xfrm>
          <a:prstGeom prst="rect">
            <a:avLst/>
          </a:prstGeom>
        </p:spPr>
      </p:pic>
      <p:pic>
        <p:nvPicPr>
          <p:cNvPr id="17" name="圖片 17">
            <a:hlinkClick r:id="rId32"/>
            <a:extLst>
              <a:ext uri="{FF2B5EF4-FFF2-40B4-BE49-F238E27FC236}">
                <a16:creationId xmlns:a16="http://schemas.microsoft.com/office/drawing/2014/main" id="{418746CA-BF14-480C-A92E-9E3C354A2F52}"/>
              </a:ext>
              <a:ext uri="{C183D7F6-B498-43B3-948B-1728B52AA6E4}">
                <adec:decorative xmlns:adec="http://schemas.microsoft.com/office/drawing/2017/decorative" val="1"/>
              </a:ext>
            </a:extLst>
          </p:cNvPr>
          <p:cNvPicPr>
            <a:picLocks noChangeAspect="1"/>
          </p:cNvPicPr>
          <p:nvPr/>
        </p:nvPicPr>
        <p:blipFill>
          <a:blip r:embed="rId33"/>
          <a:stretch>
            <a:fillRect/>
          </a:stretch>
        </p:blipFill>
        <p:spPr>
          <a:xfrm>
            <a:off x="3781720" y="3043679"/>
            <a:ext cx="959963" cy="880621"/>
          </a:xfrm>
          <a:prstGeom prst="rect">
            <a:avLst/>
          </a:prstGeom>
        </p:spPr>
      </p:pic>
      <p:sp>
        <p:nvSpPr>
          <p:cNvPr id="4" name="Rectangle 3">
            <a:hlinkClick r:id="rId34"/>
            <a:extLst>
              <a:ext uri="{FF2B5EF4-FFF2-40B4-BE49-F238E27FC236}">
                <a16:creationId xmlns:a16="http://schemas.microsoft.com/office/drawing/2014/main" id="{5BE5C4F0-083F-4B92-98B3-979A1F4DE20E}"/>
              </a:ext>
              <a:ext uri="{C183D7F6-B498-43B3-948B-1728B52AA6E4}">
                <adec:decorative xmlns:adec="http://schemas.microsoft.com/office/drawing/2017/decorative" val="1"/>
              </a:ext>
            </a:extLst>
          </p:cNvPr>
          <p:cNvSpPr/>
          <p:nvPr/>
        </p:nvSpPr>
        <p:spPr bwMode="auto">
          <a:xfrm>
            <a:off x="2818232" y="4029229"/>
            <a:ext cx="3043731" cy="25433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3209118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sp>
        <p:nvSpPr>
          <p:cNvPr id="358" name="Rectangle 357">
            <a:extLst>
              <a:ext uri="{FF2B5EF4-FFF2-40B4-BE49-F238E27FC236}">
                <a16:creationId xmlns:a16="http://schemas.microsoft.com/office/drawing/2014/main" id="{4966A24B-50A8-44F3-A3DC-8B7147DBC42E}"/>
              </a:ext>
              <a:ext uri="{C183D7F6-B498-43B3-948B-1728B52AA6E4}">
                <adec:decorative xmlns:adec="http://schemas.microsoft.com/office/drawing/2017/decorative" val="1"/>
              </a:ext>
            </a:extLst>
          </p:cNvPr>
          <p:cNvSpPr/>
          <p:nvPr/>
        </p:nvSpPr>
        <p:spPr bwMode="auto">
          <a:xfrm>
            <a:off x="4726891" y="3428612"/>
            <a:ext cx="2132123" cy="137194"/>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AA96EF81-1ABA-47B4-869C-DA36A22F80C2}"/>
              </a:ext>
              <a:ext uri="{C183D7F6-B498-43B3-948B-1728B52AA6E4}">
                <adec:decorative xmlns:adec="http://schemas.microsoft.com/office/drawing/2017/decorative" val="1"/>
              </a:ext>
            </a:extLst>
          </p:cNvPr>
          <p:cNvGrpSpPr/>
          <p:nvPr/>
        </p:nvGrpSpPr>
        <p:grpSpPr>
          <a:xfrm>
            <a:off x="1577937" y="3298038"/>
            <a:ext cx="9036126" cy="345397"/>
            <a:chOff x="1172667" y="2377615"/>
            <a:chExt cx="9862954" cy="300146"/>
          </a:xfrm>
        </p:grpSpPr>
        <p:cxnSp>
          <p:nvCxnSpPr>
            <p:cNvPr id="124" name="Straight Connector 123">
              <a:extLst>
                <a:ext uri="{FF2B5EF4-FFF2-40B4-BE49-F238E27FC236}">
                  <a16:creationId xmlns:a16="http://schemas.microsoft.com/office/drawing/2014/main" id="{D6232E04-0533-4601-905E-FE2FB76AF3C0}"/>
                </a:ext>
              </a:extLst>
            </p:cNvPr>
            <p:cNvCxnSpPr>
              <a:cxnSpLocks/>
            </p:cNvCxnSpPr>
            <p:nvPr/>
          </p:nvCxnSpPr>
          <p:spPr>
            <a:xfrm>
              <a:off x="1172667" y="2527688"/>
              <a:ext cx="9862954" cy="0"/>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138" name="Straight Connector 137">
              <a:extLst>
                <a:ext uri="{FF2B5EF4-FFF2-40B4-BE49-F238E27FC236}">
                  <a16:creationId xmlns:a16="http://schemas.microsoft.com/office/drawing/2014/main" id="{7D4F45F7-0478-4435-8081-C8B6D3A20E2C}"/>
                </a:ext>
              </a:extLst>
            </p:cNvPr>
            <p:cNvCxnSpPr>
              <a:cxnSpLocks/>
            </p:cNvCxnSpPr>
            <p:nvPr/>
          </p:nvCxnSpPr>
          <p:spPr>
            <a:xfrm>
              <a:off x="1172667" y="2377615"/>
              <a:ext cx="0" cy="300146"/>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170" name="Straight Connector 169">
              <a:extLst>
                <a:ext uri="{FF2B5EF4-FFF2-40B4-BE49-F238E27FC236}">
                  <a16:creationId xmlns:a16="http://schemas.microsoft.com/office/drawing/2014/main" id="{AFFF0339-3BE1-4B7F-8E75-E48F4667AC3B}"/>
                </a:ext>
              </a:extLst>
            </p:cNvPr>
            <p:cNvCxnSpPr>
              <a:cxnSpLocks/>
            </p:cNvCxnSpPr>
            <p:nvPr/>
          </p:nvCxnSpPr>
          <p:spPr>
            <a:xfrm>
              <a:off x="11035621" y="2377615"/>
              <a:ext cx="0" cy="300146"/>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grpSp>
      <p:sp>
        <p:nvSpPr>
          <p:cNvPr id="171" name="Rectangle 170">
            <a:extLst>
              <a:ext uri="{FF2B5EF4-FFF2-40B4-BE49-F238E27FC236}">
                <a16:creationId xmlns:a16="http://schemas.microsoft.com/office/drawing/2014/main" id="{4D2A5CE5-2641-48D6-B09D-999FAA5750E1}"/>
              </a:ext>
              <a:ext uri="{C183D7F6-B498-43B3-948B-1728B52AA6E4}">
                <adec:decorative xmlns:adec="http://schemas.microsoft.com/office/drawing/2017/decorative" val="1"/>
              </a:ext>
            </a:extLst>
          </p:cNvPr>
          <p:cNvSpPr/>
          <p:nvPr/>
        </p:nvSpPr>
        <p:spPr bwMode="auto">
          <a:xfrm>
            <a:off x="4726891" y="3387232"/>
            <a:ext cx="2469770" cy="178574"/>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TextBox 172">
            <a:extLst>
              <a:ext uri="{FF2B5EF4-FFF2-40B4-BE49-F238E27FC236}">
                <a16:creationId xmlns:a16="http://schemas.microsoft.com/office/drawing/2014/main" id="{9025B166-2168-4FC9-B76A-031BF3176D67}"/>
              </a:ext>
            </a:extLst>
          </p:cNvPr>
          <p:cNvSpPr txBox="1"/>
          <p:nvPr/>
        </p:nvSpPr>
        <p:spPr>
          <a:xfrm>
            <a:off x="4128026" y="3347802"/>
            <a:ext cx="3935949" cy="249299"/>
          </a:xfrm>
          <a:prstGeom prst="rect">
            <a:avLst/>
          </a:prstGeom>
          <a:solidFill>
            <a:srgbClr val="000000"/>
          </a:solidFill>
        </p:spPr>
        <p:txBody>
          <a:bodyPr wrap="none" lIns="91440" tIns="0" rIns="91440" bIns="0" rtlCol="0">
            <a:sp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Single control plane with</a:t>
            </a: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 </a:t>
            </a:r>
            <a:r>
              <a:rPr kumimoji="0" lang="en-US" sz="1800" b="0" i="0" u="none" strike="noStrike" kern="1200" cap="none" spc="0" normalizeH="0" baseline="0" noProof="0">
                <a:ln>
                  <a:noFill/>
                </a:ln>
                <a:solidFill>
                  <a:srgbClr val="50E6FF"/>
                </a:solidFill>
                <a:effectLst/>
                <a:uLnTx/>
                <a:uFillTx/>
                <a:latin typeface="Segoe UI Semibold"/>
                <a:ea typeface="+mn-ea"/>
                <a:cs typeface="Segoe UI" pitchFamily="34" charset="0"/>
              </a:rPr>
              <a:t>Azure Arc </a:t>
            </a:r>
          </a:p>
        </p:txBody>
      </p:sp>
      <p:grpSp>
        <p:nvGrpSpPr>
          <p:cNvPr id="6" name="Group 5">
            <a:extLst>
              <a:ext uri="{FF2B5EF4-FFF2-40B4-BE49-F238E27FC236}">
                <a16:creationId xmlns:a16="http://schemas.microsoft.com/office/drawing/2014/main" id="{23189A88-9DDB-4E22-BEB5-21BA3CCC67C5}"/>
              </a:ext>
              <a:ext uri="{C183D7F6-B498-43B3-948B-1728B52AA6E4}">
                <adec:decorative xmlns:adec="http://schemas.microsoft.com/office/drawing/2017/decorative" val="1"/>
              </a:ext>
            </a:extLst>
          </p:cNvPr>
          <p:cNvGrpSpPr/>
          <p:nvPr/>
        </p:nvGrpSpPr>
        <p:grpSpPr>
          <a:xfrm>
            <a:off x="1805815" y="4026824"/>
            <a:ext cx="8580370" cy="1983334"/>
            <a:chOff x="1805815" y="4213436"/>
            <a:chExt cx="8580370" cy="1983334"/>
          </a:xfrm>
        </p:grpSpPr>
        <p:grpSp>
          <p:nvGrpSpPr>
            <p:cNvPr id="127" name="Group 126">
              <a:extLst>
                <a:ext uri="{FF2B5EF4-FFF2-40B4-BE49-F238E27FC236}">
                  <a16:creationId xmlns:a16="http://schemas.microsoft.com/office/drawing/2014/main" id="{AAC86D8C-68E7-4EB0-BE90-DD6D84F0677F}"/>
                </a:ext>
              </a:extLst>
            </p:cNvPr>
            <p:cNvGrpSpPr/>
            <p:nvPr/>
          </p:nvGrpSpPr>
          <p:grpSpPr>
            <a:xfrm>
              <a:off x="8729245" y="4316425"/>
              <a:ext cx="1073600" cy="1046112"/>
              <a:chOff x="8808768" y="4254492"/>
              <a:chExt cx="883548" cy="885192"/>
            </a:xfrm>
          </p:grpSpPr>
          <p:grpSp>
            <p:nvGrpSpPr>
              <p:cNvPr id="128" name="Group 127">
                <a:extLst>
                  <a:ext uri="{FF2B5EF4-FFF2-40B4-BE49-F238E27FC236}">
                    <a16:creationId xmlns:a16="http://schemas.microsoft.com/office/drawing/2014/main" id="{E3067143-8FA2-4BED-A06C-F09E249A0AB9}"/>
                  </a:ext>
                </a:extLst>
              </p:cNvPr>
              <p:cNvGrpSpPr/>
              <p:nvPr/>
            </p:nvGrpSpPr>
            <p:grpSpPr>
              <a:xfrm>
                <a:off x="8808768" y="4254492"/>
                <a:ext cx="883548" cy="885192"/>
                <a:chOff x="25966924" y="5486401"/>
                <a:chExt cx="3004992" cy="3010584"/>
              </a:xfrm>
            </p:grpSpPr>
            <p:grpSp>
              <p:nvGrpSpPr>
                <p:cNvPr id="130" name="Group 129">
                  <a:extLst>
                    <a:ext uri="{FF2B5EF4-FFF2-40B4-BE49-F238E27FC236}">
                      <a16:creationId xmlns:a16="http://schemas.microsoft.com/office/drawing/2014/main" id="{1BC4C966-A9E9-417E-90F6-837BF3F98FAD}"/>
                    </a:ext>
                  </a:extLst>
                </p:cNvPr>
                <p:cNvGrpSpPr/>
                <p:nvPr/>
              </p:nvGrpSpPr>
              <p:grpSpPr>
                <a:xfrm>
                  <a:off x="27009725" y="8105775"/>
                  <a:ext cx="908051" cy="339725"/>
                  <a:chOff x="27009725" y="8105775"/>
                  <a:chExt cx="908051" cy="339725"/>
                </a:xfrm>
              </p:grpSpPr>
              <p:cxnSp>
                <p:nvCxnSpPr>
                  <p:cNvPr id="166" name="Straight Connector 165">
                    <a:extLst>
                      <a:ext uri="{FF2B5EF4-FFF2-40B4-BE49-F238E27FC236}">
                        <a16:creationId xmlns:a16="http://schemas.microsoft.com/office/drawing/2014/main" id="{6675D78A-8676-418B-ADD7-39DF554877C7}"/>
                      </a:ext>
                    </a:extLst>
                  </p:cNvPr>
                  <p:cNvCxnSpPr>
                    <a:cxnSpLocks/>
                  </p:cNvCxnSpPr>
                  <p:nvPr/>
                </p:nvCxnSpPr>
                <p:spPr>
                  <a:xfrm>
                    <a:off x="27009725" y="8105775"/>
                    <a:ext cx="149225" cy="336550"/>
                  </a:xfrm>
                  <a:prstGeom prst="line">
                    <a:avLst/>
                  </a:prstGeom>
                  <a:noFill/>
                  <a:ln w="9525" cap="rnd">
                    <a:solidFill>
                      <a:schemeClr val="accent2"/>
                    </a:solidFill>
                    <a:prstDash val="solid"/>
                    <a:round/>
                  </a:ln>
                </p:spPr>
              </p:cxnSp>
              <p:cxnSp>
                <p:nvCxnSpPr>
                  <p:cNvPr id="167" name="Straight Connector 166">
                    <a:extLst>
                      <a:ext uri="{FF2B5EF4-FFF2-40B4-BE49-F238E27FC236}">
                        <a16:creationId xmlns:a16="http://schemas.microsoft.com/office/drawing/2014/main" id="{13D58E02-1E40-4575-A1EC-221D5824D4DE}"/>
                      </a:ext>
                    </a:extLst>
                  </p:cNvPr>
                  <p:cNvCxnSpPr>
                    <a:cxnSpLocks/>
                  </p:cNvCxnSpPr>
                  <p:nvPr/>
                </p:nvCxnSpPr>
                <p:spPr>
                  <a:xfrm flipH="1">
                    <a:off x="27162126" y="8197850"/>
                    <a:ext cx="314324" cy="247650"/>
                  </a:xfrm>
                  <a:prstGeom prst="line">
                    <a:avLst/>
                  </a:prstGeom>
                  <a:noFill/>
                  <a:ln w="9525" cap="rnd">
                    <a:solidFill>
                      <a:schemeClr val="accent2"/>
                    </a:solidFill>
                    <a:prstDash val="solid"/>
                    <a:round/>
                  </a:ln>
                </p:spPr>
              </p:cxnSp>
              <p:cxnSp>
                <p:nvCxnSpPr>
                  <p:cNvPr id="168" name="Straight Connector 167">
                    <a:extLst>
                      <a:ext uri="{FF2B5EF4-FFF2-40B4-BE49-F238E27FC236}">
                        <a16:creationId xmlns:a16="http://schemas.microsoft.com/office/drawing/2014/main" id="{F80D4F09-3C32-4989-AD88-ECC51742949E}"/>
                      </a:ext>
                    </a:extLst>
                  </p:cNvPr>
                  <p:cNvCxnSpPr>
                    <a:cxnSpLocks/>
                  </p:cNvCxnSpPr>
                  <p:nvPr/>
                </p:nvCxnSpPr>
                <p:spPr>
                  <a:xfrm>
                    <a:off x="27473275" y="8201025"/>
                    <a:ext cx="307975" cy="225425"/>
                  </a:xfrm>
                  <a:prstGeom prst="line">
                    <a:avLst/>
                  </a:prstGeom>
                  <a:noFill/>
                  <a:ln w="9525" cap="rnd">
                    <a:solidFill>
                      <a:schemeClr val="accent2"/>
                    </a:solidFill>
                    <a:prstDash val="solid"/>
                    <a:round/>
                  </a:ln>
                </p:spPr>
              </p:cxnSp>
              <p:cxnSp>
                <p:nvCxnSpPr>
                  <p:cNvPr id="169" name="Straight Connector 168">
                    <a:extLst>
                      <a:ext uri="{FF2B5EF4-FFF2-40B4-BE49-F238E27FC236}">
                        <a16:creationId xmlns:a16="http://schemas.microsoft.com/office/drawing/2014/main" id="{58F5FEBD-7F32-4867-87B3-C2E4D2370EB4}"/>
                      </a:ext>
                    </a:extLst>
                  </p:cNvPr>
                  <p:cNvCxnSpPr>
                    <a:cxnSpLocks/>
                  </p:cNvCxnSpPr>
                  <p:nvPr/>
                </p:nvCxnSpPr>
                <p:spPr>
                  <a:xfrm flipH="1">
                    <a:off x="27771725" y="8105775"/>
                    <a:ext cx="146051" cy="311150"/>
                  </a:xfrm>
                  <a:prstGeom prst="line">
                    <a:avLst/>
                  </a:prstGeom>
                  <a:noFill/>
                  <a:ln w="9525" cap="rnd">
                    <a:solidFill>
                      <a:schemeClr val="accent2"/>
                    </a:solidFill>
                    <a:prstDash val="solid"/>
                    <a:round/>
                  </a:ln>
                </p:spPr>
              </p:cxnSp>
            </p:grpSp>
            <p:sp>
              <p:nvSpPr>
                <p:cNvPr id="131" name="Freeform: Shape 130">
                  <a:extLst>
                    <a:ext uri="{FF2B5EF4-FFF2-40B4-BE49-F238E27FC236}">
                      <a16:creationId xmlns:a16="http://schemas.microsoft.com/office/drawing/2014/main" id="{227B10BB-26A1-452B-9927-7B396D44DDA3}"/>
                    </a:ext>
                  </a:extLst>
                </p:cNvPr>
                <p:cNvSpPr/>
                <p:nvPr/>
              </p:nvSpPr>
              <p:spPr bwMode="auto">
                <a:xfrm>
                  <a:off x="26640768" y="8206329"/>
                  <a:ext cx="1649136" cy="251870"/>
                </a:xfrm>
                <a:custGeom>
                  <a:avLst/>
                  <a:gdLst>
                    <a:gd name="connsiteX0" fmla="*/ 0 w 1706664"/>
                    <a:gd name="connsiteY0" fmla="*/ 0 h 273380"/>
                    <a:gd name="connsiteX1" fmla="*/ 1706664 w 1706664"/>
                    <a:gd name="connsiteY1" fmla="*/ 0 h 273380"/>
                    <a:gd name="connsiteX2" fmla="*/ 1677900 w 1706664"/>
                    <a:gd name="connsiteY2" fmla="*/ 21510 h 273380"/>
                    <a:gd name="connsiteX3" fmla="*/ 853332 w 1706664"/>
                    <a:gd name="connsiteY3" fmla="*/ 273380 h 273380"/>
                    <a:gd name="connsiteX4" fmla="*/ 28764 w 1706664"/>
                    <a:gd name="connsiteY4" fmla="*/ 21510 h 273380"/>
                    <a:gd name="connsiteX0" fmla="*/ 0 w 1677900"/>
                    <a:gd name="connsiteY0" fmla="*/ 0 h 273380"/>
                    <a:gd name="connsiteX1" fmla="*/ 1677900 w 1677900"/>
                    <a:gd name="connsiteY1" fmla="*/ 21510 h 273380"/>
                    <a:gd name="connsiteX2" fmla="*/ 853332 w 1677900"/>
                    <a:gd name="connsiteY2" fmla="*/ 273380 h 273380"/>
                    <a:gd name="connsiteX3" fmla="*/ 28764 w 1677900"/>
                    <a:gd name="connsiteY3" fmla="*/ 21510 h 273380"/>
                    <a:gd name="connsiteX4" fmla="*/ 0 w 1677900"/>
                    <a:gd name="connsiteY4" fmla="*/ 0 h 273380"/>
                    <a:gd name="connsiteX0" fmla="*/ 0 w 1649136"/>
                    <a:gd name="connsiteY0" fmla="*/ 0 h 251870"/>
                    <a:gd name="connsiteX1" fmla="*/ 1649136 w 1649136"/>
                    <a:gd name="connsiteY1" fmla="*/ 0 h 251870"/>
                    <a:gd name="connsiteX2" fmla="*/ 824568 w 1649136"/>
                    <a:gd name="connsiteY2" fmla="*/ 251870 h 251870"/>
                    <a:gd name="connsiteX3" fmla="*/ 0 w 1649136"/>
                    <a:gd name="connsiteY3" fmla="*/ 0 h 251870"/>
                    <a:gd name="connsiteX0" fmla="*/ 1649136 w 1740576"/>
                    <a:gd name="connsiteY0" fmla="*/ 0 h 251870"/>
                    <a:gd name="connsiteX1" fmla="*/ 824568 w 1740576"/>
                    <a:gd name="connsiteY1" fmla="*/ 251870 h 251870"/>
                    <a:gd name="connsiteX2" fmla="*/ 0 w 1740576"/>
                    <a:gd name="connsiteY2" fmla="*/ 0 h 251870"/>
                    <a:gd name="connsiteX3" fmla="*/ 1740576 w 1740576"/>
                    <a:gd name="connsiteY3" fmla="*/ 91440 h 251870"/>
                    <a:gd name="connsiteX0" fmla="*/ 1649136 w 1649136"/>
                    <a:gd name="connsiteY0" fmla="*/ 0 h 251870"/>
                    <a:gd name="connsiteX1" fmla="*/ 824568 w 1649136"/>
                    <a:gd name="connsiteY1" fmla="*/ 251870 h 251870"/>
                    <a:gd name="connsiteX2" fmla="*/ 0 w 1649136"/>
                    <a:gd name="connsiteY2" fmla="*/ 0 h 251870"/>
                  </a:gdLst>
                  <a:ahLst/>
                  <a:cxnLst>
                    <a:cxn ang="0">
                      <a:pos x="connsiteX0" y="connsiteY0"/>
                    </a:cxn>
                    <a:cxn ang="0">
                      <a:pos x="connsiteX1" y="connsiteY1"/>
                    </a:cxn>
                    <a:cxn ang="0">
                      <a:pos x="connsiteX2" y="connsiteY2"/>
                    </a:cxn>
                  </a:cxnLst>
                  <a:rect l="l" t="t" r="r" b="b"/>
                  <a:pathLst>
                    <a:path w="1649136" h="251870">
                      <a:moveTo>
                        <a:pt x="1649136" y="0"/>
                      </a:moveTo>
                      <a:cubicBezTo>
                        <a:pt x="1413758" y="159018"/>
                        <a:pt x="1130006" y="251870"/>
                        <a:pt x="824568" y="251870"/>
                      </a:cubicBezTo>
                      <a:cubicBezTo>
                        <a:pt x="519130" y="251870"/>
                        <a:pt x="235378" y="159018"/>
                        <a:pt x="0" y="0"/>
                      </a:cubicBezTo>
                    </a:path>
                  </a:pathLst>
                </a:custGeom>
                <a:noFill/>
                <a:ln w="9525"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32" name="Blue outlines">
                  <a:extLst>
                    <a:ext uri="{FF2B5EF4-FFF2-40B4-BE49-F238E27FC236}">
                      <a16:creationId xmlns:a16="http://schemas.microsoft.com/office/drawing/2014/main" id="{1A12816A-C4D9-493F-B769-FB3B581D16D1}"/>
                    </a:ext>
                  </a:extLst>
                </p:cNvPr>
                <p:cNvSpPr/>
                <p:nvPr/>
              </p:nvSpPr>
              <p:spPr>
                <a:xfrm>
                  <a:off x="26000137" y="5518429"/>
                  <a:ext cx="2933836" cy="2692601"/>
                </a:xfrm>
                <a:custGeom>
                  <a:avLst/>
                  <a:gdLst>
                    <a:gd name="connsiteX0" fmla="*/ 1730693 w 7877175"/>
                    <a:gd name="connsiteY0" fmla="*/ 7202805 h 7229475"/>
                    <a:gd name="connsiteX1" fmla="*/ 0 w 7877175"/>
                    <a:gd name="connsiteY1" fmla="*/ 3940493 h 7229475"/>
                    <a:gd name="connsiteX2" fmla="*/ 3940493 w 7877175"/>
                    <a:gd name="connsiteY2" fmla="*/ 0 h 7229475"/>
                    <a:gd name="connsiteX3" fmla="*/ 7880985 w 7877175"/>
                    <a:gd name="connsiteY3" fmla="*/ 3940493 h 7229475"/>
                    <a:gd name="connsiteX4" fmla="*/ 6106478 w 7877175"/>
                    <a:gd name="connsiteY4" fmla="*/ 7232333 h 7229475"/>
                    <a:gd name="connsiteX5" fmla="*/ 3940493 w 7877175"/>
                    <a:gd name="connsiteY5" fmla="*/ 692468 h 7229475"/>
                    <a:gd name="connsiteX6" fmla="*/ 693420 w 7877175"/>
                    <a:gd name="connsiteY6" fmla="*/ 3939540 h 7229475"/>
                    <a:gd name="connsiteX7" fmla="*/ 3940493 w 7877175"/>
                    <a:gd name="connsiteY7" fmla="*/ 7186613 h 7229475"/>
                    <a:gd name="connsiteX8" fmla="*/ 7187565 w 7877175"/>
                    <a:gd name="connsiteY8" fmla="*/ 3939540 h 7229475"/>
                    <a:gd name="connsiteX9" fmla="*/ 3940493 w 7877175"/>
                    <a:gd name="connsiteY9" fmla="*/ 692468 h 7229475"/>
                    <a:gd name="connsiteX10" fmla="*/ 5163503 w 7877175"/>
                    <a:gd name="connsiteY10" fmla="*/ 6949440 h 7229475"/>
                    <a:gd name="connsiteX11" fmla="*/ 6107430 w 7877175"/>
                    <a:gd name="connsiteY11" fmla="*/ 7232333 h 7229475"/>
                    <a:gd name="connsiteX12" fmla="*/ 6219825 w 7877175"/>
                    <a:gd name="connsiteY12" fmla="*/ 6253163 h 7229475"/>
                    <a:gd name="connsiteX13" fmla="*/ 7200900 w 7877175"/>
                    <a:gd name="connsiteY13" fmla="*/ 6155055 h 7229475"/>
                    <a:gd name="connsiteX14" fmla="*/ 6932295 w 7877175"/>
                    <a:gd name="connsiteY14" fmla="*/ 5205413 h 7229475"/>
                    <a:gd name="connsiteX15" fmla="*/ 7800023 w 7877175"/>
                    <a:gd name="connsiteY15" fmla="*/ 4740593 h 7229475"/>
                    <a:gd name="connsiteX16" fmla="*/ 7188518 w 7877175"/>
                    <a:gd name="connsiteY16" fmla="*/ 3969068 h 7229475"/>
                    <a:gd name="connsiteX17" fmla="*/ 7812405 w 7877175"/>
                    <a:gd name="connsiteY17" fmla="*/ 3205163 h 7229475"/>
                    <a:gd name="connsiteX18" fmla="*/ 6953250 w 7877175"/>
                    <a:gd name="connsiteY18" fmla="*/ 2726055 h 7229475"/>
                    <a:gd name="connsiteX19" fmla="*/ 7236143 w 7877175"/>
                    <a:gd name="connsiteY19" fmla="*/ 1781175 h 7229475"/>
                    <a:gd name="connsiteX20" fmla="*/ 6257925 w 7877175"/>
                    <a:gd name="connsiteY20" fmla="*/ 1666875 h 7229475"/>
                    <a:gd name="connsiteX21" fmla="*/ 6158865 w 7877175"/>
                    <a:gd name="connsiteY21" fmla="*/ 683895 h 7229475"/>
                    <a:gd name="connsiteX22" fmla="*/ 5214938 w 7877175"/>
                    <a:gd name="connsiteY22" fmla="*/ 952500 h 7229475"/>
                    <a:gd name="connsiteX23" fmla="*/ 4743450 w 7877175"/>
                    <a:gd name="connsiteY23" fmla="*/ 81915 h 7229475"/>
                    <a:gd name="connsiteX24" fmla="*/ 3970020 w 7877175"/>
                    <a:gd name="connsiteY24" fmla="*/ 692468 h 7229475"/>
                    <a:gd name="connsiteX25" fmla="*/ 3204210 w 7877175"/>
                    <a:gd name="connsiteY25" fmla="*/ 68580 h 7229475"/>
                    <a:gd name="connsiteX26" fmla="*/ 2721293 w 7877175"/>
                    <a:gd name="connsiteY26" fmla="*/ 928687 h 7229475"/>
                    <a:gd name="connsiteX27" fmla="*/ 1776413 w 7877175"/>
                    <a:gd name="connsiteY27" fmla="*/ 646748 h 7229475"/>
                    <a:gd name="connsiteX28" fmla="*/ 1661160 w 7877175"/>
                    <a:gd name="connsiteY28" fmla="*/ 1626870 h 7229475"/>
                    <a:gd name="connsiteX29" fmla="*/ 681038 w 7877175"/>
                    <a:gd name="connsiteY29" fmla="*/ 1725930 h 7229475"/>
                    <a:gd name="connsiteX30" fmla="*/ 947738 w 7877175"/>
                    <a:gd name="connsiteY30" fmla="*/ 2678430 h 7229475"/>
                    <a:gd name="connsiteX31" fmla="*/ 80963 w 7877175"/>
                    <a:gd name="connsiteY31" fmla="*/ 3145155 h 7229475"/>
                    <a:gd name="connsiteX32" fmla="*/ 80963 w 7877175"/>
                    <a:gd name="connsiteY32" fmla="*/ 3145155 h 7229475"/>
                    <a:gd name="connsiteX33" fmla="*/ 693420 w 7877175"/>
                    <a:gd name="connsiteY33" fmla="*/ 3919538 h 7229475"/>
                    <a:gd name="connsiteX34" fmla="*/ 70485 w 7877175"/>
                    <a:gd name="connsiteY34" fmla="*/ 4684395 h 7229475"/>
                    <a:gd name="connsiteX35" fmla="*/ 931545 w 7877175"/>
                    <a:gd name="connsiteY35" fmla="*/ 5165408 h 7229475"/>
                    <a:gd name="connsiteX36" fmla="*/ 649605 w 7877175"/>
                    <a:gd name="connsiteY36" fmla="*/ 6109335 h 7229475"/>
                    <a:gd name="connsiteX37" fmla="*/ 1629728 w 7877175"/>
                    <a:gd name="connsiteY37" fmla="*/ 6223635 h 7229475"/>
                    <a:gd name="connsiteX38" fmla="*/ 1730693 w 7877175"/>
                    <a:gd name="connsiteY38" fmla="*/ 7203758 h 7229475"/>
                    <a:gd name="connsiteX39" fmla="*/ 2678430 w 7877175"/>
                    <a:gd name="connsiteY39" fmla="*/ 6934200 h 722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877175" h="7229475">
                      <a:moveTo>
                        <a:pt x="1730693" y="7202805"/>
                      </a:moveTo>
                      <a:cubicBezTo>
                        <a:pt x="686753" y="6494145"/>
                        <a:pt x="0" y="5296853"/>
                        <a:pt x="0" y="3940493"/>
                      </a:cubicBezTo>
                      <a:cubicBezTo>
                        <a:pt x="0" y="1764030"/>
                        <a:pt x="1764030" y="0"/>
                        <a:pt x="3940493" y="0"/>
                      </a:cubicBezTo>
                      <a:cubicBezTo>
                        <a:pt x="6116955" y="0"/>
                        <a:pt x="7880985" y="1764030"/>
                        <a:pt x="7880985" y="3940493"/>
                      </a:cubicBezTo>
                      <a:cubicBezTo>
                        <a:pt x="7880985" y="5316855"/>
                        <a:pt x="7175183" y="6528435"/>
                        <a:pt x="6106478" y="7232333"/>
                      </a:cubicBezTo>
                      <a:moveTo>
                        <a:pt x="3940493" y="692468"/>
                      </a:moveTo>
                      <a:cubicBezTo>
                        <a:pt x="2146935" y="692468"/>
                        <a:pt x="693420" y="2145983"/>
                        <a:pt x="693420" y="3939540"/>
                      </a:cubicBezTo>
                      <a:cubicBezTo>
                        <a:pt x="693420" y="5733098"/>
                        <a:pt x="2146935" y="7186613"/>
                        <a:pt x="3940493" y="7186613"/>
                      </a:cubicBezTo>
                      <a:cubicBezTo>
                        <a:pt x="5734050" y="7186613"/>
                        <a:pt x="7187565" y="5733098"/>
                        <a:pt x="7187565" y="3939540"/>
                      </a:cubicBezTo>
                      <a:cubicBezTo>
                        <a:pt x="7187565" y="2145983"/>
                        <a:pt x="5734050" y="692468"/>
                        <a:pt x="3940493" y="692468"/>
                      </a:cubicBezTo>
                      <a:close/>
                      <a:moveTo>
                        <a:pt x="5163503" y="6949440"/>
                      </a:moveTo>
                      <a:lnTo>
                        <a:pt x="6107430" y="7232333"/>
                      </a:lnTo>
                      <a:lnTo>
                        <a:pt x="6219825" y="6253163"/>
                      </a:lnTo>
                      <a:lnTo>
                        <a:pt x="7200900" y="6155055"/>
                      </a:lnTo>
                      <a:lnTo>
                        <a:pt x="6932295" y="5205413"/>
                      </a:lnTo>
                      <a:lnTo>
                        <a:pt x="7800023" y="4740593"/>
                      </a:lnTo>
                      <a:lnTo>
                        <a:pt x="7188518" y="3969068"/>
                      </a:lnTo>
                      <a:lnTo>
                        <a:pt x="7812405" y="3205163"/>
                      </a:lnTo>
                      <a:lnTo>
                        <a:pt x="6953250" y="2726055"/>
                      </a:lnTo>
                      <a:lnTo>
                        <a:pt x="7236143" y="1781175"/>
                      </a:lnTo>
                      <a:lnTo>
                        <a:pt x="6257925" y="1666875"/>
                      </a:lnTo>
                      <a:lnTo>
                        <a:pt x="6158865" y="683895"/>
                      </a:lnTo>
                      <a:lnTo>
                        <a:pt x="5214938" y="952500"/>
                      </a:lnTo>
                      <a:lnTo>
                        <a:pt x="4743450" y="81915"/>
                      </a:lnTo>
                      <a:lnTo>
                        <a:pt x="3970020" y="692468"/>
                      </a:lnTo>
                      <a:lnTo>
                        <a:pt x="3204210" y="68580"/>
                      </a:lnTo>
                      <a:lnTo>
                        <a:pt x="2721293" y="928687"/>
                      </a:lnTo>
                      <a:lnTo>
                        <a:pt x="1776413" y="646748"/>
                      </a:lnTo>
                      <a:lnTo>
                        <a:pt x="1661160" y="1626870"/>
                      </a:lnTo>
                      <a:lnTo>
                        <a:pt x="681038" y="1725930"/>
                      </a:lnTo>
                      <a:lnTo>
                        <a:pt x="947738" y="2678430"/>
                      </a:lnTo>
                      <a:lnTo>
                        <a:pt x="80963" y="3145155"/>
                      </a:lnTo>
                      <a:lnTo>
                        <a:pt x="80963" y="3145155"/>
                      </a:lnTo>
                      <a:lnTo>
                        <a:pt x="693420" y="3919538"/>
                      </a:lnTo>
                      <a:lnTo>
                        <a:pt x="70485" y="4684395"/>
                      </a:lnTo>
                      <a:lnTo>
                        <a:pt x="931545" y="5165408"/>
                      </a:lnTo>
                      <a:lnTo>
                        <a:pt x="649605" y="6109335"/>
                      </a:lnTo>
                      <a:lnTo>
                        <a:pt x="1629728" y="6223635"/>
                      </a:lnTo>
                      <a:lnTo>
                        <a:pt x="1730693" y="7203758"/>
                      </a:lnTo>
                      <a:lnTo>
                        <a:pt x="2678430" y="6934200"/>
                      </a:lnTo>
                    </a:path>
                  </a:pathLst>
                </a:custGeom>
                <a:noFill/>
                <a:ln w="9525"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Oval 132">
                  <a:extLst>
                    <a:ext uri="{FF2B5EF4-FFF2-40B4-BE49-F238E27FC236}">
                      <a16:creationId xmlns:a16="http://schemas.microsoft.com/office/drawing/2014/main" id="{AF13312D-D2B2-403D-922D-53CA84D9EAE2}"/>
                    </a:ext>
                  </a:extLst>
                </p:cNvPr>
                <p:cNvSpPr/>
                <p:nvPr/>
              </p:nvSpPr>
              <p:spPr bwMode="auto">
                <a:xfrm>
                  <a:off x="27132417" y="5486401"/>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0ABFA496-4F6B-48E0-82B2-3E227180A638}"/>
                    </a:ext>
                  </a:extLst>
                </p:cNvPr>
                <p:cNvSpPr/>
                <p:nvPr/>
              </p:nvSpPr>
              <p:spPr bwMode="auto">
                <a:xfrm>
                  <a:off x="27704167" y="5491131"/>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5DE17C7D-5F14-4098-A977-2F3F2E5FE07A}"/>
                    </a:ext>
                  </a:extLst>
                </p:cNvPr>
                <p:cNvSpPr/>
                <p:nvPr/>
              </p:nvSpPr>
              <p:spPr bwMode="auto">
                <a:xfrm>
                  <a:off x="28229206" y="571285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7F4725A6-58B0-48D4-B4BE-DDF29592B094}"/>
                    </a:ext>
                  </a:extLst>
                </p:cNvPr>
                <p:cNvSpPr/>
                <p:nvPr/>
              </p:nvSpPr>
              <p:spPr bwMode="auto">
                <a:xfrm>
                  <a:off x="28631855" y="612082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8A31018E-0CB3-4474-8880-8B33CAEFBFA7}"/>
                    </a:ext>
                  </a:extLst>
                </p:cNvPr>
                <p:cNvSpPr/>
                <p:nvPr/>
              </p:nvSpPr>
              <p:spPr bwMode="auto">
                <a:xfrm>
                  <a:off x="28841871" y="6651539"/>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8B502F27-387A-421C-8A9B-1C12A02E1CA3}"/>
                    </a:ext>
                  </a:extLst>
                </p:cNvPr>
                <p:cNvSpPr/>
                <p:nvPr/>
              </p:nvSpPr>
              <p:spPr bwMode="auto">
                <a:xfrm>
                  <a:off x="28217499" y="814506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886DE2ED-4447-46B9-9175-2FC82164CDE5}"/>
                    </a:ext>
                  </a:extLst>
                </p:cNvPr>
                <p:cNvSpPr/>
                <p:nvPr/>
              </p:nvSpPr>
              <p:spPr bwMode="auto">
                <a:xfrm>
                  <a:off x="26585620" y="813442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C214CC00-42B4-42B8-BCCF-90A863BE2BB3}"/>
                    </a:ext>
                  </a:extLst>
                </p:cNvPr>
                <p:cNvSpPr/>
                <p:nvPr/>
              </p:nvSpPr>
              <p:spPr bwMode="auto">
                <a:xfrm>
                  <a:off x="25966924" y="7202121"/>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A34F4FF2-9E4E-4296-B5C5-4C694FB7583D}"/>
                    </a:ext>
                  </a:extLst>
                </p:cNvPr>
                <p:cNvSpPr/>
                <p:nvPr/>
              </p:nvSpPr>
              <p:spPr bwMode="auto">
                <a:xfrm>
                  <a:off x="26196570" y="609930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4A45453F-1EBC-4E5E-ABF0-65188A784DBD}"/>
                    </a:ext>
                  </a:extLst>
                </p:cNvPr>
                <p:cNvSpPr/>
                <p:nvPr/>
              </p:nvSpPr>
              <p:spPr bwMode="auto">
                <a:xfrm>
                  <a:off x="26600992" y="5697245"/>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FD12AB42-2C13-4C0D-850E-22EFC495393C}"/>
                    </a:ext>
                  </a:extLst>
                </p:cNvPr>
                <p:cNvSpPr/>
                <p:nvPr/>
              </p:nvSpPr>
              <p:spPr bwMode="auto">
                <a:xfrm>
                  <a:off x="27412675" y="5713445"/>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3E3C76A8-E713-4612-92C5-67149A121F71}"/>
                    </a:ext>
                  </a:extLst>
                </p:cNvPr>
                <p:cNvSpPr/>
                <p:nvPr/>
              </p:nvSpPr>
              <p:spPr bwMode="auto">
                <a:xfrm rot="1364879">
                  <a:off x="27880448" y="580754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4B50A0E1-801C-448C-A0E4-DED1280B21C0}"/>
                    </a:ext>
                  </a:extLst>
                </p:cNvPr>
                <p:cNvSpPr/>
                <p:nvPr/>
              </p:nvSpPr>
              <p:spPr bwMode="auto">
                <a:xfrm rot="2713327">
                  <a:off x="28271386" y="6071086"/>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D1C04AB7-7EB4-42AD-ABB0-41781BAA4FBA}"/>
                    </a:ext>
                  </a:extLst>
                </p:cNvPr>
                <p:cNvSpPr/>
                <p:nvPr/>
              </p:nvSpPr>
              <p:spPr bwMode="auto">
                <a:xfrm rot="4074515">
                  <a:off x="28533583" y="6468207"/>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Oval 147">
                  <a:extLst>
                    <a:ext uri="{FF2B5EF4-FFF2-40B4-BE49-F238E27FC236}">
                      <a16:creationId xmlns:a16="http://schemas.microsoft.com/office/drawing/2014/main" id="{443F31E7-0D98-43A0-AC2A-0EBCFB54B8DF}"/>
                    </a:ext>
                  </a:extLst>
                </p:cNvPr>
                <p:cNvSpPr/>
                <p:nvPr/>
              </p:nvSpPr>
              <p:spPr bwMode="auto">
                <a:xfrm rot="5400000">
                  <a:off x="28622395" y="6923165"/>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AE8FF305-9E90-4C82-B25F-DC8445E9B37F}"/>
                    </a:ext>
                  </a:extLst>
                </p:cNvPr>
                <p:cNvSpPr/>
                <p:nvPr/>
              </p:nvSpPr>
              <p:spPr bwMode="auto">
                <a:xfrm rot="9482925">
                  <a:off x="26960462" y="5801146"/>
                  <a:ext cx="126494"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44BE55FA-33DE-420A-B342-187839092808}"/>
                    </a:ext>
                  </a:extLst>
                </p:cNvPr>
                <p:cNvSpPr/>
                <p:nvPr/>
              </p:nvSpPr>
              <p:spPr bwMode="auto">
                <a:xfrm rot="6769720">
                  <a:off x="28527636" y="7392507"/>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DF2CB431-1E9C-4D6A-B690-0165581A9C8B}"/>
                    </a:ext>
                  </a:extLst>
                </p:cNvPr>
                <p:cNvSpPr/>
                <p:nvPr/>
              </p:nvSpPr>
              <p:spPr bwMode="auto">
                <a:xfrm rot="8148786">
                  <a:off x="28255851" y="7790616"/>
                  <a:ext cx="126496" cy="1264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CEF2D606-860F-45C3-96C0-3754EC113CA2}"/>
                    </a:ext>
                  </a:extLst>
                </p:cNvPr>
                <p:cNvSpPr/>
                <p:nvPr/>
              </p:nvSpPr>
              <p:spPr bwMode="auto">
                <a:xfrm>
                  <a:off x="27412675" y="813288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Oval 152">
                  <a:extLst>
                    <a:ext uri="{FF2B5EF4-FFF2-40B4-BE49-F238E27FC236}">
                      <a16:creationId xmlns:a16="http://schemas.microsoft.com/office/drawing/2014/main" id="{D442B88B-785B-4294-82F4-C9626220849E}"/>
                    </a:ext>
                  </a:extLst>
                </p:cNvPr>
                <p:cNvSpPr/>
                <p:nvPr/>
              </p:nvSpPr>
              <p:spPr bwMode="auto">
                <a:xfrm rot="1364879">
                  <a:off x="26944903" y="8038785"/>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Oval 153">
                  <a:extLst>
                    <a:ext uri="{FF2B5EF4-FFF2-40B4-BE49-F238E27FC236}">
                      <a16:creationId xmlns:a16="http://schemas.microsoft.com/office/drawing/2014/main" id="{C187B9CC-B1EF-4448-B5B4-9507899CCAA9}"/>
                    </a:ext>
                  </a:extLst>
                </p:cNvPr>
                <p:cNvSpPr/>
                <p:nvPr/>
              </p:nvSpPr>
              <p:spPr bwMode="auto">
                <a:xfrm rot="2713327">
                  <a:off x="26553965" y="7775243"/>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Oval 154">
                  <a:extLst>
                    <a:ext uri="{FF2B5EF4-FFF2-40B4-BE49-F238E27FC236}">
                      <a16:creationId xmlns:a16="http://schemas.microsoft.com/office/drawing/2014/main" id="{836521DE-4170-4F5B-BE35-11AC27685DE1}"/>
                    </a:ext>
                  </a:extLst>
                </p:cNvPr>
                <p:cNvSpPr/>
                <p:nvPr/>
              </p:nvSpPr>
              <p:spPr bwMode="auto">
                <a:xfrm>
                  <a:off x="26184745" y="772645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6" name="Oval 155">
                  <a:extLst>
                    <a:ext uri="{FF2B5EF4-FFF2-40B4-BE49-F238E27FC236}">
                      <a16:creationId xmlns:a16="http://schemas.microsoft.com/office/drawing/2014/main" id="{7C8DB0C0-6A36-4643-A134-43712E422BEE}"/>
                    </a:ext>
                  </a:extLst>
                </p:cNvPr>
                <p:cNvSpPr/>
                <p:nvPr/>
              </p:nvSpPr>
              <p:spPr bwMode="auto">
                <a:xfrm rot="4074515">
                  <a:off x="26291767" y="7378122"/>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Oval 156">
                  <a:extLst>
                    <a:ext uri="{FF2B5EF4-FFF2-40B4-BE49-F238E27FC236}">
                      <a16:creationId xmlns:a16="http://schemas.microsoft.com/office/drawing/2014/main" id="{9B8857A6-7B52-4284-A11E-02E75F65CFE3}"/>
                    </a:ext>
                  </a:extLst>
                </p:cNvPr>
                <p:cNvSpPr/>
                <p:nvPr/>
              </p:nvSpPr>
              <p:spPr bwMode="auto">
                <a:xfrm rot="5400000">
                  <a:off x="26202956" y="6923165"/>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3AED3239-178E-4B87-820A-76B0A57F642B}"/>
                    </a:ext>
                  </a:extLst>
                </p:cNvPr>
                <p:cNvSpPr/>
                <p:nvPr/>
              </p:nvSpPr>
              <p:spPr bwMode="auto">
                <a:xfrm rot="6769720">
                  <a:off x="26297714" y="6453822"/>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Oval 158">
                  <a:extLst>
                    <a:ext uri="{FF2B5EF4-FFF2-40B4-BE49-F238E27FC236}">
                      <a16:creationId xmlns:a16="http://schemas.microsoft.com/office/drawing/2014/main" id="{5C01D78B-8850-4B68-B4DE-F8A39D412F9F}"/>
                    </a:ext>
                  </a:extLst>
                </p:cNvPr>
                <p:cNvSpPr/>
                <p:nvPr/>
              </p:nvSpPr>
              <p:spPr bwMode="auto">
                <a:xfrm>
                  <a:off x="25969525" y="662434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Oval 159">
                  <a:extLst>
                    <a:ext uri="{FF2B5EF4-FFF2-40B4-BE49-F238E27FC236}">
                      <a16:creationId xmlns:a16="http://schemas.microsoft.com/office/drawing/2014/main" id="{45AA4D55-7CB0-460F-A3EF-0A36738DC751}"/>
                    </a:ext>
                  </a:extLst>
                </p:cNvPr>
                <p:cNvSpPr/>
                <p:nvPr/>
              </p:nvSpPr>
              <p:spPr bwMode="auto">
                <a:xfrm rot="8148786">
                  <a:off x="26569500" y="6055709"/>
                  <a:ext cx="126496" cy="1264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EB390233-0C47-45E1-9BB9-A56170D8BEA7}"/>
                    </a:ext>
                  </a:extLst>
                </p:cNvPr>
                <p:cNvSpPr/>
                <p:nvPr/>
              </p:nvSpPr>
              <p:spPr bwMode="auto">
                <a:xfrm>
                  <a:off x="28845418" y="7222697"/>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54F431E8-3181-49D6-B6B7-A8B3BD2F5BF9}"/>
                    </a:ext>
                  </a:extLst>
                </p:cNvPr>
                <p:cNvSpPr/>
                <p:nvPr/>
              </p:nvSpPr>
              <p:spPr bwMode="auto">
                <a:xfrm>
                  <a:off x="28625469" y="7747737"/>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9919E724-D74D-4CD1-9196-6D1DF295E933}"/>
                    </a:ext>
                  </a:extLst>
                </p:cNvPr>
                <p:cNvSpPr/>
                <p:nvPr/>
              </p:nvSpPr>
              <p:spPr bwMode="auto">
                <a:xfrm rot="9482925">
                  <a:off x="27864891" y="8045181"/>
                  <a:ext cx="126494"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Oval 163">
                  <a:extLst>
                    <a:ext uri="{FF2B5EF4-FFF2-40B4-BE49-F238E27FC236}">
                      <a16:creationId xmlns:a16="http://schemas.microsoft.com/office/drawing/2014/main" id="{D0EF1E40-7F88-46C7-A5F2-DD5CF7B87EDE}"/>
                    </a:ext>
                  </a:extLst>
                </p:cNvPr>
                <p:cNvSpPr/>
                <p:nvPr/>
              </p:nvSpPr>
              <p:spPr bwMode="auto">
                <a:xfrm>
                  <a:off x="27722199" y="8357789"/>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Oval 164">
                  <a:extLst>
                    <a:ext uri="{FF2B5EF4-FFF2-40B4-BE49-F238E27FC236}">
                      <a16:creationId xmlns:a16="http://schemas.microsoft.com/office/drawing/2014/main" id="{32B6DA5A-0E0E-44A5-8C85-E62D85DA38E1}"/>
                    </a:ext>
                  </a:extLst>
                </p:cNvPr>
                <p:cNvSpPr/>
                <p:nvPr/>
              </p:nvSpPr>
              <p:spPr bwMode="auto">
                <a:xfrm>
                  <a:off x="27099899" y="8370489"/>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cloud 4" descr="cloud">
                <a:extLst>
                  <a:ext uri="{FF2B5EF4-FFF2-40B4-BE49-F238E27FC236}">
                    <a16:creationId xmlns:a16="http://schemas.microsoft.com/office/drawing/2014/main" id="{341035EF-D27A-44D6-AA12-FA7913CFB723}"/>
                  </a:ext>
                </a:extLst>
              </p:cNvPr>
              <p:cNvSpPr>
                <a:spLocks noChangeAspect="1"/>
              </p:cNvSpPr>
              <p:nvPr/>
            </p:nvSpPr>
            <p:spPr bwMode="auto">
              <a:xfrm flipV="1">
                <a:off x="9071335" y="4574486"/>
                <a:ext cx="358416" cy="19757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72" name="Rectangle 171">
              <a:extLst>
                <a:ext uri="{FF2B5EF4-FFF2-40B4-BE49-F238E27FC236}">
                  <a16:creationId xmlns:a16="http://schemas.microsoft.com/office/drawing/2014/main" id="{B0211C65-96A4-4865-967A-50BD8C4602A2}"/>
                </a:ext>
              </a:extLst>
            </p:cNvPr>
            <p:cNvSpPr/>
            <p:nvPr/>
          </p:nvSpPr>
          <p:spPr bwMode="auto">
            <a:xfrm>
              <a:off x="8145905" y="5660195"/>
              <a:ext cx="2240280" cy="536575"/>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Extend to the edge</a:t>
              </a: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b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with </a:t>
              </a:r>
              <a:r>
                <a:rPr kumimoji="0" lang="en-US" sz="1400" b="0" i="0" u="none" strike="noStrike" kern="1200" cap="none" spc="0" normalizeH="0" baseline="0" noProof="0">
                  <a:ln>
                    <a:noFill/>
                  </a:ln>
                  <a:solidFill>
                    <a:srgbClr val="50E6FF"/>
                  </a:solidFill>
                  <a:effectLst/>
                  <a:uLnTx/>
                  <a:uFillTx/>
                  <a:latin typeface="Segoe UI Semibold"/>
                  <a:ea typeface="+mn-ea"/>
                  <a:cs typeface="Segoe UI" pitchFamily="34" charset="0"/>
                </a:rPr>
                <a:t>Azure IoT</a:t>
              </a:r>
            </a:p>
          </p:txBody>
        </p:sp>
        <p:sp>
          <p:nvSpPr>
            <p:cNvPr id="380" name="Rectangle 379">
              <a:extLst>
                <a:ext uri="{FF2B5EF4-FFF2-40B4-BE49-F238E27FC236}">
                  <a16:creationId xmlns:a16="http://schemas.microsoft.com/office/drawing/2014/main" id="{E328AEC2-45C0-4898-BE2D-CB5B4E13A518}"/>
                </a:ext>
              </a:extLst>
            </p:cNvPr>
            <p:cNvSpPr/>
            <p:nvPr/>
          </p:nvSpPr>
          <p:spPr bwMode="auto">
            <a:xfrm>
              <a:off x="1805815" y="5625643"/>
              <a:ext cx="2240280" cy="536575"/>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Bring </a:t>
              </a:r>
              <a:r>
                <a:rPr kumimoji="0" lang="en-US" sz="1400" b="0" i="0" u="none" strike="noStrike" kern="1200" cap="none" spc="0" normalizeH="0" baseline="0" noProof="0">
                  <a:ln>
                    <a:noFill/>
                  </a:ln>
                  <a:solidFill>
                    <a:srgbClr val="50E6FF"/>
                  </a:solidFill>
                  <a:effectLst/>
                  <a:uLnTx/>
                  <a:uFillTx/>
                  <a:latin typeface="Segoe UI Semibold"/>
                  <a:ea typeface="+mn-ea"/>
                  <a:cs typeface="Segoe UI" pitchFamily="34" charset="0"/>
                </a:rPr>
                <a:t>Azure services</a:t>
              </a: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b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to any infrastructure</a:t>
              </a:r>
              <a:endParaRPr kumimoji="0" lang="en-US" sz="14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grpSp>
          <p:nvGrpSpPr>
            <p:cNvPr id="382" name="Group 381">
              <a:extLst>
                <a:ext uri="{FF2B5EF4-FFF2-40B4-BE49-F238E27FC236}">
                  <a16:creationId xmlns:a16="http://schemas.microsoft.com/office/drawing/2014/main" id="{852E9B3B-61B5-4E25-AB89-58C4E35B5FDF}"/>
                </a:ext>
              </a:extLst>
            </p:cNvPr>
            <p:cNvGrpSpPr/>
            <p:nvPr/>
          </p:nvGrpSpPr>
          <p:grpSpPr>
            <a:xfrm>
              <a:off x="2297211" y="5106972"/>
              <a:ext cx="1257488" cy="202972"/>
              <a:chOff x="1543564" y="4090537"/>
              <a:chExt cx="1257488" cy="202972"/>
            </a:xfrm>
          </p:grpSpPr>
          <p:pic>
            <p:nvPicPr>
              <p:cNvPr id="400" name="Picture 4" descr="Image result for google cloud logo png">
                <a:extLst>
                  <a:ext uri="{FF2B5EF4-FFF2-40B4-BE49-F238E27FC236}">
                    <a16:creationId xmlns:a16="http://schemas.microsoft.com/office/drawing/2014/main" id="{181C27D7-6E3C-474D-89DE-8A8F73B502D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9839"/>
              <a:stretch/>
            </p:blipFill>
            <p:spPr bwMode="auto">
              <a:xfrm>
                <a:off x="1543564" y="4090537"/>
                <a:ext cx="253731" cy="198601"/>
              </a:xfrm>
              <a:prstGeom prst="rect">
                <a:avLst/>
              </a:prstGeom>
              <a:noFill/>
              <a:extLst>
                <a:ext uri="{909E8E84-426E-40DD-AFC4-6F175D3DCCD1}">
                  <a14:hiddenFill xmlns:a14="http://schemas.microsoft.com/office/drawing/2010/main">
                    <a:solidFill>
                      <a:srgbClr val="FFFFFF"/>
                    </a:solidFill>
                  </a14:hiddenFill>
                </a:ext>
              </a:extLst>
            </p:spPr>
          </p:pic>
          <p:pic>
            <p:nvPicPr>
              <p:cNvPr id="401" name="Picture 4" descr="Image result for google cloud logo png">
                <a:extLst>
                  <a:ext uri="{FF2B5EF4-FFF2-40B4-BE49-F238E27FC236}">
                    <a16:creationId xmlns:a16="http://schemas.microsoft.com/office/drawing/2014/main" id="{3E29D06E-916A-4C35-9BF8-F1105D4446F9}"/>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21960"/>
              <a:stretch/>
            </p:blipFill>
            <p:spPr bwMode="auto">
              <a:xfrm>
                <a:off x="1797295" y="4090537"/>
                <a:ext cx="1003757" cy="2029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3" name="Group 382">
              <a:extLst>
                <a:ext uri="{FF2B5EF4-FFF2-40B4-BE49-F238E27FC236}">
                  <a16:creationId xmlns:a16="http://schemas.microsoft.com/office/drawing/2014/main" id="{7244EA8D-F6E7-481F-8BB2-888A747B88F2}"/>
                </a:ext>
              </a:extLst>
            </p:cNvPr>
            <p:cNvGrpSpPr/>
            <p:nvPr/>
          </p:nvGrpSpPr>
          <p:grpSpPr>
            <a:xfrm>
              <a:off x="2401647" y="4213436"/>
              <a:ext cx="1048616" cy="384176"/>
              <a:chOff x="2473921" y="3991710"/>
              <a:chExt cx="1048616" cy="384176"/>
            </a:xfrm>
          </p:grpSpPr>
          <p:grpSp>
            <p:nvGrpSpPr>
              <p:cNvPr id="384" name="server 2" descr="server">
                <a:extLst>
                  <a:ext uri="{FF2B5EF4-FFF2-40B4-BE49-F238E27FC236}">
                    <a16:creationId xmlns:a16="http://schemas.microsoft.com/office/drawing/2014/main" id="{61A21765-5F93-49C9-B36C-DC87A21C00C0}"/>
                  </a:ext>
                </a:extLst>
              </p:cNvPr>
              <p:cNvGrpSpPr>
                <a:grpSpLocks noChangeAspect="1"/>
              </p:cNvGrpSpPr>
              <p:nvPr/>
            </p:nvGrpSpPr>
            <p:grpSpPr bwMode="auto">
              <a:xfrm>
                <a:off x="2473921" y="3991710"/>
                <a:ext cx="431460" cy="384176"/>
                <a:chOff x="1608" y="1359"/>
                <a:chExt cx="292" cy="260"/>
              </a:xfrm>
            </p:grpSpPr>
            <p:sp>
              <p:nvSpPr>
                <p:cNvPr id="387" name="AutoShape 11">
                  <a:extLst>
                    <a:ext uri="{FF2B5EF4-FFF2-40B4-BE49-F238E27FC236}">
                      <a16:creationId xmlns:a16="http://schemas.microsoft.com/office/drawing/2014/main" id="{6F6645CE-9CA5-494A-84CB-6F507A48A1C0}"/>
                    </a:ext>
                  </a:extLst>
                </p:cNvPr>
                <p:cNvSpPr>
                  <a:spLocks noChangeAspect="1" noChangeArrowheads="1" noTextEdit="1"/>
                </p:cNvSpPr>
                <p:nvPr/>
              </p:nvSpPr>
              <p:spPr bwMode="auto">
                <a:xfrm>
                  <a:off x="1608" y="1359"/>
                  <a:ext cx="292"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8" name="Rectangle 13">
                  <a:extLst>
                    <a:ext uri="{FF2B5EF4-FFF2-40B4-BE49-F238E27FC236}">
                      <a16:creationId xmlns:a16="http://schemas.microsoft.com/office/drawing/2014/main" id="{AD02E1EA-8E5E-46D8-A12D-CC696C283D0E}"/>
                    </a:ext>
                  </a:extLst>
                </p:cNvPr>
                <p:cNvSpPr>
                  <a:spLocks noChangeArrowheads="1"/>
                </p:cNvSpPr>
                <p:nvPr/>
              </p:nvSpPr>
              <p:spPr bwMode="auto">
                <a:xfrm>
                  <a:off x="1608"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9" name="Rectangle 14">
                  <a:extLst>
                    <a:ext uri="{FF2B5EF4-FFF2-40B4-BE49-F238E27FC236}">
                      <a16:creationId xmlns:a16="http://schemas.microsoft.com/office/drawing/2014/main" id="{6668DEBE-2812-4700-A3BA-68326AA7AFE2}"/>
                    </a:ext>
                  </a:extLst>
                </p:cNvPr>
                <p:cNvSpPr>
                  <a:spLocks noChangeArrowheads="1"/>
                </p:cNvSpPr>
                <p:nvPr/>
              </p:nvSpPr>
              <p:spPr bwMode="auto">
                <a:xfrm>
                  <a:off x="1633" y="1586"/>
                  <a:ext cx="15"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0" name="Rectangle 15">
                  <a:extLst>
                    <a:ext uri="{FF2B5EF4-FFF2-40B4-BE49-F238E27FC236}">
                      <a16:creationId xmlns:a16="http://schemas.microsoft.com/office/drawing/2014/main" id="{54969716-4E0A-48D9-878D-67535B09BD5C}"/>
                    </a:ext>
                  </a:extLst>
                </p:cNvPr>
                <p:cNvSpPr>
                  <a:spLocks noChangeArrowheads="1"/>
                </p:cNvSpPr>
                <p:nvPr/>
              </p:nvSpPr>
              <p:spPr bwMode="auto">
                <a:xfrm>
                  <a:off x="1683" y="1359"/>
                  <a:ext cx="65"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1" name="Rectangle 16">
                  <a:extLst>
                    <a:ext uri="{FF2B5EF4-FFF2-40B4-BE49-F238E27FC236}">
                      <a16:creationId xmlns:a16="http://schemas.microsoft.com/office/drawing/2014/main" id="{9927E2B1-545C-411F-B6DD-2F91009C3895}"/>
                    </a:ext>
                  </a:extLst>
                </p:cNvPr>
                <p:cNvSpPr>
                  <a:spLocks noChangeArrowheads="1"/>
                </p:cNvSpPr>
                <p:nvPr/>
              </p:nvSpPr>
              <p:spPr bwMode="auto">
                <a:xfrm>
                  <a:off x="1709"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2" name="Rectangle 17">
                  <a:extLst>
                    <a:ext uri="{FF2B5EF4-FFF2-40B4-BE49-F238E27FC236}">
                      <a16:creationId xmlns:a16="http://schemas.microsoft.com/office/drawing/2014/main" id="{96756B75-E151-4C15-8AA0-2F142D383AB5}"/>
                    </a:ext>
                  </a:extLst>
                </p:cNvPr>
                <p:cNvSpPr>
                  <a:spLocks noChangeArrowheads="1"/>
                </p:cNvSpPr>
                <p:nvPr/>
              </p:nvSpPr>
              <p:spPr bwMode="auto">
                <a:xfrm>
                  <a:off x="1760"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3" name="Rectangle 18">
                  <a:extLst>
                    <a:ext uri="{FF2B5EF4-FFF2-40B4-BE49-F238E27FC236}">
                      <a16:creationId xmlns:a16="http://schemas.microsoft.com/office/drawing/2014/main" id="{0D4C7872-BFDF-410B-86B9-A61870B5F903}"/>
                    </a:ext>
                  </a:extLst>
                </p:cNvPr>
                <p:cNvSpPr>
                  <a:spLocks noChangeArrowheads="1"/>
                </p:cNvSpPr>
                <p:nvPr/>
              </p:nvSpPr>
              <p:spPr bwMode="auto">
                <a:xfrm>
                  <a:off x="1784"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4" name="Rectangle 19">
                  <a:extLst>
                    <a:ext uri="{FF2B5EF4-FFF2-40B4-BE49-F238E27FC236}">
                      <a16:creationId xmlns:a16="http://schemas.microsoft.com/office/drawing/2014/main" id="{66A42DA1-1CB4-42C9-A71A-A420BCE4323D}"/>
                    </a:ext>
                  </a:extLst>
                </p:cNvPr>
                <p:cNvSpPr>
                  <a:spLocks noChangeArrowheads="1"/>
                </p:cNvSpPr>
                <p:nvPr/>
              </p:nvSpPr>
              <p:spPr bwMode="auto">
                <a:xfrm>
                  <a:off x="1835"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5" name="Rectangle 20">
                  <a:extLst>
                    <a:ext uri="{FF2B5EF4-FFF2-40B4-BE49-F238E27FC236}">
                      <a16:creationId xmlns:a16="http://schemas.microsoft.com/office/drawing/2014/main" id="{B787E011-5F88-4478-8165-6D1B54A222F7}"/>
                    </a:ext>
                  </a:extLst>
                </p:cNvPr>
                <p:cNvSpPr>
                  <a:spLocks noChangeArrowheads="1"/>
                </p:cNvSpPr>
                <p:nvPr/>
              </p:nvSpPr>
              <p:spPr bwMode="auto">
                <a:xfrm>
                  <a:off x="1860"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6" name="Rectangle 21">
                  <a:extLst>
                    <a:ext uri="{FF2B5EF4-FFF2-40B4-BE49-F238E27FC236}">
                      <a16:creationId xmlns:a16="http://schemas.microsoft.com/office/drawing/2014/main" id="{AABB395A-DB6A-44E6-AD1A-BE4B077B2E21}"/>
                    </a:ext>
                  </a:extLst>
                </p:cNvPr>
                <p:cNvSpPr>
                  <a:spLocks noChangeArrowheads="1"/>
                </p:cNvSpPr>
                <p:nvPr/>
              </p:nvSpPr>
              <p:spPr bwMode="auto">
                <a:xfrm>
                  <a:off x="1633" y="1554"/>
                  <a:ext cx="15"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7" name="Rectangle 22">
                  <a:extLst>
                    <a:ext uri="{FF2B5EF4-FFF2-40B4-BE49-F238E27FC236}">
                      <a16:creationId xmlns:a16="http://schemas.microsoft.com/office/drawing/2014/main" id="{61EB48F9-4329-44CE-9E40-A2106301FDF6}"/>
                    </a:ext>
                  </a:extLst>
                </p:cNvPr>
                <p:cNvSpPr>
                  <a:spLocks noChangeArrowheads="1"/>
                </p:cNvSpPr>
                <p:nvPr/>
              </p:nvSpPr>
              <p:spPr bwMode="auto">
                <a:xfrm>
                  <a:off x="1709"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8" name="Rectangle 23">
                  <a:extLst>
                    <a:ext uri="{FF2B5EF4-FFF2-40B4-BE49-F238E27FC236}">
                      <a16:creationId xmlns:a16="http://schemas.microsoft.com/office/drawing/2014/main" id="{66DD23BA-0AA4-4767-A360-E7B0670FE22F}"/>
                    </a:ext>
                  </a:extLst>
                </p:cNvPr>
                <p:cNvSpPr>
                  <a:spLocks noChangeArrowheads="1"/>
                </p:cNvSpPr>
                <p:nvPr/>
              </p:nvSpPr>
              <p:spPr bwMode="auto">
                <a:xfrm>
                  <a:off x="1784"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9" name="Rectangle 24">
                  <a:extLst>
                    <a:ext uri="{FF2B5EF4-FFF2-40B4-BE49-F238E27FC236}">
                      <a16:creationId xmlns:a16="http://schemas.microsoft.com/office/drawing/2014/main" id="{E5F4600E-376A-4FB3-A6F0-BE63F4996709}"/>
                    </a:ext>
                  </a:extLst>
                </p:cNvPr>
                <p:cNvSpPr>
                  <a:spLocks noChangeArrowheads="1"/>
                </p:cNvSpPr>
                <p:nvPr/>
              </p:nvSpPr>
              <p:spPr bwMode="auto">
                <a:xfrm>
                  <a:off x="1860"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385" name="Straight Connector 384">
                <a:extLst>
                  <a:ext uri="{FF2B5EF4-FFF2-40B4-BE49-F238E27FC236}">
                    <a16:creationId xmlns:a16="http://schemas.microsoft.com/office/drawing/2014/main" id="{0FBB072C-65D0-4AF9-B99A-C6D2FADF95BF}"/>
                  </a:ext>
                </a:extLst>
              </p:cNvPr>
              <p:cNvCxnSpPr/>
              <p:nvPr/>
            </p:nvCxnSpPr>
            <p:spPr>
              <a:xfrm>
                <a:off x="2924175" y="4193382"/>
                <a:ext cx="407194" cy="0"/>
              </a:xfrm>
              <a:prstGeom prst="line">
                <a:avLst/>
              </a:prstGeom>
              <a:noFill/>
              <a:ln w="12700" cap="rnd">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86" name="cloud 4" descr="cloud">
                <a:extLst>
                  <a:ext uri="{FF2B5EF4-FFF2-40B4-BE49-F238E27FC236}">
                    <a16:creationId xmlns:a16="http://schemas.microsoft.com/office/drawing/2014/main" id="{37261260-4137-40C1-908E-E012C74F03E1}"/>
                  </a:ext>
                </a:extLst>
              </p:cNvPr>
              <p:cNvSpPr>
                <a:spLocks noChangeAspect="1"/>
              </p:cNvSpPr>
              <p:nvPr/>
            </p:nvSpPr>
            <p:spPr bwMode="auto">
              <a:xfrm flipV="1">
                <a:off x="3152490" y="4072052"/>
                <a:ext cx="370047" cy="19839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05" name="Rectangle 404">
              <a:extLst>
                <a:ext uri="{FF2B5EF4-FFF2-40B4-BE49-F238E27FC236}">
                  <a16:creationId xmlns:a16="http://schemas.microsoft.com/office/drawing/2014/main" id="{D3827B4B-C02A-40B0-9D18-A3BE2D931C01}"/>
                </a:ext>
              </a:extLst>
            </p:cNvPr>
            <p:cNvSpPr/>
            <p:nvPr/>
          </p:nvSpPr>
          <p:spPr bwMode="auto">
            <a:xfrm>
              <a:off x="4974846" y="5631318"/>
              <a:ext cx="2242309" cy="536575"/>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Modernize datacenters with </a:t>
              </a:r>
              <a:r>
                <a:rPr kumimoji="0" lang="en-US" sz="1400" b="0" i="0" u="none" strike="noStrike" kern="1200" cap="none" spc="0" normalizeH="0" baseline="0" noProof="0">
                  <a:ln>
                    <a:noFill/>
                  </a:ln>
                  <a:solidFill>
                    <a:srgbClr val="50E6FF"/>
                  </a:solidFill>
                  <a:effectLst/>
                  <a:uLnTx/>
                  <a:uFillTx/>
                  <a:latin typeface="Segoe UI Semibold"/>
                  <a:ea typeface="+mn-ea"/>
                  <a:cs typeface="Segoe UI" pitchFamily="34" charset="0"/>
                </a:rPr>
                <a:t>Azure Stack</a:t>
              </a:r>
              <a:endPar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endParaRPr>
            </a:p>
            <a:p>
              <a:pPr marL="0" marR="0" lvl="0" indent="0" algn="ctr" defTabSz="932472" rtl="0" eaLnBrk="1" fontAlgn="base" latinLnBrk="0" hangingPunct="1">
                <a:lnSpc>
                  <a:spcPct val="90000"/>
                </a:lnSpc>
                <a:spcBef>
                  <a:spcPct val="0"/>
                </a:spcBef>
                <a:spcAft>
                  <a:spcPts val="1200"/>
                </a:spcAft>
                <a:buClrTx/>
                <a:buSzTx/>
                <a:buFontTx/>
                <a:buNone/>
                <a:tabLst/>
                <a:defRPr/>
              </a:pPr>
              <a:endPar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06" name="Group 405">
              <a:extLst>
                <a:ext uri="{FF2B5EF4-FFF2-40B4-BE49-F238E27FC236}">
                  <a16:creationId xmlns:a16="http://schemas.microsoft.com/office/drawing/2014/main" id="{7D23740F-E4FC-4DD3-9F44-7AE26C3EFC8E}"/>
                </a:ext>
              </a:extLst>
            </p:cNvPr>
            <p:cNvGrpSpPr/>
            <p:nvPr/>
          </p:nvGrpSpPr>
          <p:grpSpPr>
            <a:xfrm>
              <a:off x="5490186" y="4582340"/>
              <a:ext cx="1211629" cy="780197"/>
              <a:chOff x="5644799" y="3773766"/>
              <a:chExt cx="989692" cy="637287"/>
            </a:xfrm>
          </p:grpSpPr>
          <p:sp>
            <p:nvSpPr>
              <p:cNvPr id="407" name="Freeform: Shape 406">
                <a:extLst>
                  <a:ext uri="{FF2B5EF4-FFF2-40B4-BE49-F238E27FC236}">
                    <a16:creationId xmlns:a16="http://schemas.microsoft.com/office/drawing/2014/main" id="{9A3475C7-DCA4-4D06-9808-1FCF353597F5}"/>
                  </a:ext>
                </a:extLst>
              </p:cNvPr>
              <p:cNvSpPr/>
              <p:nvPr/>
            </p:nvSpPr>
            <p:spPr>
              <a:xfrm>
                <a:off x="5644799" y="4078094"/>
                <a:ext cx="148220" cy="29643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8" name="Freeform: Shape 407">
                <a:extLst>
                  <a:ext uri="{FF2B5EF4-FFF2-40B4-BE49-F238E27FC236}">
                    <a16:creationId xmlns:a16="http://schemas.microsoft.com/office/drawing/2014/main" id="{CB01299A-18F2-4BE6-A767-739286C1BEA1}"/>
                  </a:ext>
                </a:extLst>
              </p:cNvPr>
              <p:cNvSpPr/>
              <p:nvPr/>
            </p:nvSpPr>
            <p:spPr>
              <a:xfrm>
                <a:off x="5704399" y="4326478"/>
                <a:ext cx="37054" cy="49407"/>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0078D4"/>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9" name="Freeform: Shape 408">
                <a:extLst>
                  <a:ext uri="{FF2B5EF4-FFF2-40B4-BE49-F238E27FC236}">
                    <a16:creationId xmlns:a16="http://schemas.microsoft.com/office/drawing/2014/main" id="{11DD8ABE-3428-4ED5-BE73-CAF9F4FA3EAA}"/>
                  </a:ext>
                </a:extLst>
              </p:cNvPr>
              <p:cNvSpPr/>
              <p:nvPr/>
            </p:nvSpPr>
            <p:spPr>
              <a:xfrm>
                <a:off x="5774352" y="3897614"/>
                <a:ext cx="238052" cy="476100"/>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0078D4"/>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0" name="Freeform: Shape 409">
                <a:extLst>
                  <a:ext uri="{FF2B5EF4-FFF2-40B4-BE49-F238E27FC236}">
                    <a16:creationId xmlns:a16="http://schemas.microsoft.com/office/drawing/2014/main" id="{06428D82-6C6B-4758-85DD-0D476F5F0156}"/>
                  </a:ext>
                </a:extLst>
              </p:cNvPr>
              <p:cNvSpPr/>
              <p:nvPr/>
            </p:nvSpPr>
            <p:spPr>
              <a:xfrm>
                <a:off x="5856123" y="4296534"/>
                <a:ext cx="59512" cy="79351"/>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1" name="AutoShape 163">
                <a:extLst>
                  <a:ext uri="{FF2B5EF4-FFF2-40B4-BE49-F238E27FC236}">
                    <a16:creationId xmlns:a16="http://schemas.microsoft.com/office/drawing/2014/main" id="{8BA20517-FF42-4444-9324-8AECF661C7EA}"/>
                  </a:ext>
                </a:extLst>
              </p:cNvPr>
              <p:cNvSpPr>
                <a:spLocks noChangeAspect="1" noChangeArrowheads="1" noTextEdit="1"/>
              </p:cNvSpPr>
              <p:nvPr/>
            </p:nvSpPr>
            <p:spPr bwMode="auto">
              <a:xfrm>
                <a:off x="5945082" y="3773766"/>
                <a:ext cx="602118" cy="60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2" name="Rectangle 168">
                <a:extLst>
                  <a:ext uri="{FF2B5EF4-FFF2-40B4-BE49-F238E27FC236}">
                    <a16:creationId xmlns:a16="http://schemas.microsoft.com/office/drawing/2014/main" id="{CE98DFB2-0BEE-415E-A11C-5C0344F23A1F}"/>
                  </a:ext>
                </a:extLst>
              </p:cNvPr>
              <p:cNvSpPr>
                <a:spLocks noChangeArrowheads="1"/>
              </p:cNvSpPr>
              <p:nvPr/>
            </p:nvSpPr>
            <p:spPr bwMode="auto">
              <a:xfrm>
                <a:off x="5945082" y="3773766"/>
                <a:ext cx="301060" cy="60211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3" name="Rectangle 169">
                <a:extLst>
                  <a:ext uri="{FF2B5EF4-FFF2-40B4-BE49-F238E27FC236}">
                    <a16:creationId xmlns:a16="http://schemas.microsoft.com/office/drawing/2014/main" id="{7B873AA1-5EEF-4476-979F-BC03B9A00A17}"/>
                  </a:ext>
                </a:extLst>
              </p:cNvPr>
              <p:cNvSpPr>
                <a:spLocks noChangeArrowheads="1"/>
              </p:cNvSpPr>
              <p:nvPr/>
            </p:nvSpPr>
            <p:spPr bwMode="auto">
              <a:xfrm>
                <a:off x="6246141" y="3926681"/>
                <a:ext cx="301060" cy="449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4" name="Rectangle 170">
                <a:extLst>
                  <a:ext uri="{FF2B5EF4-FFF2-40B4-BE49-F238E27FC236}">
                    <a16:creationId xmlns:a16="http://schemas.microsoft.com/office/drawing/2014/main" id="{6512E102-5C1E-4764-88DF-FD49486FCDB8}"/>
                  </a:ext>
                </a:extLst>
              </p:cNvPr>
              <p:cNvSpPr>
                <a:spLocks noChangeArrowheads="1"/>
              </p:cNvSpPr>
              <p:nvPr/>
            </p:nvSpPr>
            <p:spPr bwMode="auto">
              <a:xfrm>
                <a:off x="6019763" y="3867118"/>
                <a:ext cx="56012" cy="583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5" name="Rectangle 171">
                <a:extLst>
                  <a:ext uri="{FF2B5EF4-FFF2-40B4-BE49-F238E27FC236}">
                    <a16:creationId xmlns:a16="http://schemas.microsoft.com/office/drawing/2014/main" id="{5EE4BEF6-0D87-45E4-ABE4-A6386A1DFBE8}"/>
                  </a:ext>
                </a:extLst>
              </p:cNvPr>
              <p:cNvSpPr>
                <a:spLocks noChangeArrowheads="1"/>
              </p:cNvSpPr>
              <p:nvPr/>
            </p:nvSpPr>
            <p:spPr bwMode="auto">
              <a:xfrm>
                <a:off x="6115449" y="3867118"/>
                <a:ext cx="56012" cy="583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6" name="Rectangle 172">
                <a:extLst>
                  <a:ext uri="{FF2B5EF4-FFF2-40B4-BE49-F238E27FC236}">
                    <a16:creationId xmlns:a16="http://schemas.microsoft.com/office/drawing/2014/main" id="{364DCE48-03A6-4453-9D61-026222067203}"/>
                  </a:ext>
                </a:extLst>
              </p:cNvPr>
              <p:cNvSpPr>
                <a:spLocks noChangeArrowheads="1"/>
              </p:cNvSpPr>
              <p:nvPr/>
            </p:nvSpPr>
            <p:spPr bwMode="auto">
              <a:xfrm>
                <a:off x="6019763" y="3962803"/>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7" name="Rectangle 173">
                <a:extLst>
                  <a:ext uri="{FF2B5EF4-FFF2-40B4-BE49-F238E27FC236}">
                    <a16:creationId xmlns:a16="http://schemas.microsoft.com/office/drawing/2014/main" id="{4AC34AF2-2897-430A-A999-9533F79E7757}"/>
                  </a:ext>
                </a:extLst>
              </p:cNvPr>
              <p:cNvSpPr>
                <a:spLocks noChangeArrowheads="1"/>
              </p:cNvSpPr>
              <p:nvPr/>
            </p:nvSpPr>
            <p:spPr bwMode="auto">
              <a:xfrm>
                <a:off x="6115449" y="3962803"/>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8" name="Rectangle 174">
                <a:extLst>
                  <a:ext uri="{FF2B5EF4-FFF2-40B4-BE49-F238E27FC236}">
                    <a16:creationId xmlns:a16="http://schemas.microsoft.com/office/drawing/2014/main" id="{1AB67CD8-9C30-490F-AC37-47093B829172}"/>
                  </a:ext>
                </a:extLst>
              </p:cNvPr>
              <p:cNvSpPr>
                <a:spLocks noChangeArrowheads="1"/>
              </p:cNvSpPr>
              <p:nvPr/>
            </p:nvSpPr>
            <p:spPr bwMode="auto">
              <a:xfrm>
                <a:off x="6019763" y="4056155"/>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9" name="Rectangle 175">
                <a:extLst>
                  <a:ext uri="{FF2B5EF4-FFF2-40B4-BE49-F238E27FC236}">
                    <a16:creationId xmlns:a16="http://schemas.microsoft.com/office/drawing/2014/main" id="{5F9076DA-5808-4654-A07E-9D62B347FBFC}"/>
                  </a:ext>
                </a:extLst>
              </p:cNvPr>
              <p:cNvSpPr>
                <a:spLocks noChangeArrowheads="1"/>
              </p:cNvSpPr>
              <p:nvPr/>
            </p:nvSpPr>
            <p:spPr bwMode="auto">
              <a:xfrm>
                <a:off x="6115449" y="4056155"/>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0" name="Rectangle 176">
                <a:extLst>
                  <a:ext uri="{FF2B5EF4-FFF2-40B4-BE49-F238E27FC236}">
                    <a16:creationId xmlns:a16="http://schemas.microsoft.com/office/drawing/2014/main" id="{9F2CB267-073B-4D7E-BCD6-5B42E6D107B7}"/>
                  </a:ext>
                </a:extLst>
              </p:cNvPr>
              <p:cNvSpPr>
                <a:spLocks noChangeArrowheads="1"/>
              </p:cNvSpPr>
              <p:nvPr/>
            </p:nvSpPr>
            <p:spPr bwMode="auto">
              <a:xfrm>
                <a:off x="6019763" y="4149508"/>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1" name="Rectangle 177">
                <a:extLst>
                  <a:ext uri="{FF2B5EF4-FFF2-40B4-BE49-F238E27FC236}">
                    <a16:creationId xmlns:a16="http://schemas.microsoft.com/office/drawing/2014/main" id="{B995FBB2-545C-43A4-BBD6-22E449F8C0A4}"/>
                  </a:ext>
                </a:extLst>
              </p:cNvPr>
              <p:cNvSpPr>
                <a:spLocks noChangeArrowheads="1"/>
              </p:cNvSpPr>
              <p:nvPr/>
            </p:nvSpPr>
            <p:spPr bwMode="auto">
              <a:xfrm>
                <a:off x="6115449" y="4149508"/>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2" name="Rectangle 178">
                <a:extLst>
                  <a:ext uri="{FF2B5EF4-FFF2-40B4-BE49-F238E27FC236}">
                    <a16:creationId xmlns:a16="http://schemas.microsoft.com/office/drawing/2014/main" id="{275104C6-C9FC-4D21-857B-A3A7E867F3AA}"/>
                  </a:ext>
                </a:extLst>
              </p:cNvPr>
              <p:cNvSpPr>
                <a:spLocks noChangeArrowheads="1"/>
              </p:cNvSpPr>
              <p:nvPr/>
            </p:nvSpPr>
            <p:spPr bwMode="auto">
              <a:xfrm>
                <a:off x="6057104" y="4301203"/>
                <a:ext cx="77014" cy="746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3" name="Rectangle 179">
                <a:extLst>
                  <a:ext uri="{FF2B5EF4-FFF2-40B4-BE49-F238E27FC236}">
                    <a16:creationId xmlns:a16="http://schemas.microsoft.com/office/drawing/2014/main" id="{8F68B1D5-5803-4D30-9671-B80270362C24}"/>
                  </a:ext>
                </a:extLst>
              </p:cNvPr>
              <p:cNvSpPr>
                <a:spLocks noChangeArrowheads="1"/>
              </p:cNvSpPr>
              <p:nvPr/>
            </p:nvSpPr>
            <p:spPr bwMode="auto">
              <a:xfrm>
                <a:off x="6320823" y="4004252"/>
                <a:ext cx="56012" cy="560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4" name="Rectangle 180">
                <a:extLst>
                  <a:ext uri="{FF2B5EF4-FFF2-40B4-BE49-F238E27FC236}">
                    <a16:creationId xmlns:a16="http://schemas.microsoft.com/office/drawing/2014/main" id="{113DAE21-4FA1-43DE-B84D-A930916A823A}"/>
                  </a:ext>
                </a:extLst>
              </p:cNvPr>
              <p:cNvSpPr>
                <a:spLocks noChangeArrowheads="1"/>
              </p:cNvSpPr>
              <p:nvPr/>
            </p:nvSpPr>
            <p:spPr bwMode="auto">
              <a:xfrm>
                <a:off x="6416508" y="4004252"/>
                <a:ext cx="56012" cy="560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5" name="Freeform: Shape 424">
                <a:extLst>
                  <a:ext uri="{FF2B5EF4-FFF2-40B4-BE49-F238E27FC236}">
                    <a16:creationId xmlns:a16="http://schemas.microsoft.com/office/drawing/2014/main" id="{E964186C-BB55-44C3-B2E2-0566628FDD6E}"/>
                  </a:ext>
                </a:extLst>
              </p:cNvPr>
              <p:cNvSpPr/>
              <p:nvPr/>
            </p:nvSpPr>
            <p:spPr>
              <a:xfrm>
                <a:off x="5822786" y="4034891"/>
                <a:ext cx="109311" cy="45719"/>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6" name="Freeform: Shape 425">
                <a:extLst>
                  <a:ext uri="{FF2B5EF4-FFF2-40B4-BE49-F238E27FC236}">
                    <a16:creationId xmlns:a16="http://schemas.microsoft.com/office/drawing/2014/main" id="{8997995E-2859-4751-846E-7536B044743F}"/>
                  </a:ext>
                </a:extLst>
              </p:cNvPr>
              <p:cNvSpPr/>
              <p:nvPr/>
            </p:nvSpPr>
            <p:spPr>
              <a:xfrm>
                <a:off x="5822786" y="3968216"/>
                <a:ext cx="109311" cy="45719"/>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27" name="Group 426">
                <a:extLst>
                  <a:ext uri="{FF2B5EF4-FFF2-40B4-BE49-F238E27FC236}">
                    <a16:creationId xmlns:a16="http://schemas.microsoft.com/office/drawing/2014/main" id="{65ED8716-A8C8-43E9-AF52-CBA9B7F311CF}"/>
                  </a:ext>
                </a:extLst>
              </p:cNvPr>
              <p:cNvGrpSpPr/>
              <p:nvPr/>
            </p:nvGrpSpPr>
            <p:grpSpPr>
              <a:xfrm>
                <a:off x="6036797" y="4054049"/>
                <a:ext cx="597694" cy="357004"/>
                <a:chOff x="6391460" y="3679214"/>
                <a:chExt cx="597694" cy="357004"/>
              </a:xfrm>
            </p:grpSpPr>
            <p:grpSp>
              <p:nvGrpSpPr>
                <p:cNvPr id="428" name="Group 427">
                  <a:extLst>
                    <a:ext uri="{FF2B5EF4-FFF2-40B4-BE49-F238E27FC236}">
                      <a16:creationId xmlns:a16="http://schemas.microsoft.com/office/drawing/2014/main" id="{5C671931-9A2D-4469-BF69-1C633E4F0C95}"/>
                    </a:ext>
                  </a:extLst>
                </p:cNvPr>
                <p:cNvGrpSpPr/>
                <p:nvPr/>
              </p:nvGrpSpPr>
              <p:grpSpPr>
                <a:xfrm>
                  <a:off x="6391460" y="3679214"/>
                  <a:ext cx="597694" cy="357004"/>
                  <a:chOff x="6620060" y="3248208"/>
                  <a:chExt cx="597694" cy="357004"/>
                </a:xfrm>
                <a:solidFill>
                  <a:schemeClr val="bg1"/>
                </a:solidFill>
              </p:grpSpPr>
              <p:sp>
                <p:nvSpPr>
                  <p:cNvPr id="430" name="Oval 429">
                    <a:extLst>
                      <a:ext uri="{FF2B5EF4-FFF2-40B4-BE49-F238E27FC236}">
                        <a16:creationId xmlns:a16="http://schemas.microsoft.com/office/drawing/2014/main" id="{6BEB7C09-CF53-45D1-847B-E0B9DA60DCDB}"/>
                      </a:ext>
                    </a:extLst>
                  </p:cNvPr>
                  <p:cNvSpPr/>
                  <p:nvPr/>
                </p:nvSpPr>
                <p:spPr bwMode="auto">
                  <a:xfrm>
                    <a:off x="6936766" y="3324224"/>
                    <a:ext cx="280988" cy="2809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1" name="Oval 430">
                    <a:extLst>
                      <a:ext uri="{FF2B5EF4-FFF2-40B4-BE49-F238E27FC236}">
                        <a16:creationId xmlns:a16="http://schemas.microsoft.com/office/drawing/2014/main" id="{B4572DDF-E5DB-41AF-8367-D90A8E2E6AE8}"/>
                      </a:ext>
                    </a:extLst>
                  </p:cNvPr>
                  <p:cNvSpPr/>
                  <p:nvPr/>
                </p:nvSpPr>
                <p:spPr bwMode="auto">
                  <a:xfrm>
                    <a:off x="6689116" y="3341077"/>
                    <a:ext cx="190316" cy="19031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2" name="Oval 431">
                    <a:extLst>
                      <a:ext uri="{FF2B5EF4-FFF2-40B4-BE49-F238E27FC236}">
                        <a16:creationId xmlns:a16="http://schemas.microsoft.com/office/drawing/2014/main" id="{8AAAB409-E787-49B6-8650-72BF091598A6}"/>
                      </a:ext>
                    </a:extLst>
                  </p:cNvPr>
                  <p:cNvSpPr/>
                  <p:nvPr/>
                </p:nvSpPr>
                <p:spPr bwMode="auto">
                  <a:xfrm>
                    <a:off x="6762935" y="3248208"/>
                    <a:ext cx="314142" cy="3141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3" name="Oval 432">
                    <a:extLst>
                      <a:ext uri="{FF2B5EF4-FFF2-40B4-BE49-F238E27FC236}">
                        <a16:creationId xmlns:a16="http://schemas.microsoft.com/office/drawing/2014/main" id="{52E504CB-40EE-43D8-8FF4-AAB00C541A51}"/>
                      </a:ext>
                    </a:extLst>
                  </p:cNvPr>
                  <p:cNvSpPr/>
                  <p:nvPr/>
                </p:nvSpPr>
                <p:spPr bwMode="auto">
                  <a:xfrm>
                    <a:off x="6620060" y="3414896"/>
                    <a:ext cx="190316" cy="19031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27D3890D-45F5-4B1E-9A23-F689033FD569}"/>
                      </a:ext>
                    </a:extLst>
                  </p:cNvPr>
                  <p:cNvSpPr/>
                  <p:nvPr/>
                </p:nvSpPr>
                <p:spPr bwMode="auto">
                  <a:xfrm>
                    <a:off x="6700838" y="3493762"/>
                    <a:ext cx="402431" cy="1114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29" name="cloud 4" descr="cloud">
                  <a:extLst>
                    <a:ext uri="{FF2B5EF4-FFF2-40B4-BE49-F238E27FC236}">
                      <a16:creationId xmlns:a16="http://schemas.microsoft.com/office/drawing/2014/main" id="{8F955A16-BCFE-457E-9D09-F35992387F15}"/>
                    </a:ext>
                  </a:extLst>
                </p:cNvPr>
                <p:cNvSpPr>
                  <a:spLocks noChangeAspect="1"/>
                </p:cNvSpPr>
                <p:nvPr/>
              </p:nvSpPr>
              <p:spPr bwMode="auto">
                <a:xfrm flipV="1">
                  <a:off x="6434008" y="3725292"/>
                  <a:ext cx="514794" cy="27600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4" name="Group 3">
              <a:extLst>
                <a:ext uri="{FF2B5EF4-FFF2-40B4-BE49-F238E27FC236}">
                  <a16:creationId xmlns:a16="http://schemas.microsoft.com/office/drawing/2014/main" id="{156D647A-BB92-44E8-A636-C10B0F7939CF}"/>
                </a:ext>
              </a:extLst>
            </p:cNvPr>
            <p:cNvGrpSpPr/>
            <p:nvPr/>
          </p:nvGrpSpPr>
          <p:grpSpPr>
            <a:xfrm>
              <a:off x="2248754" y="4758613"/>
              <a:ext cx="1354402" cy="282536"/>
              <a:chOff x="2010957" y="4758613"/>
              <a:chExt cx="1354402" cy="282536"/>
            </a:xfrm>
          </p:grpSpPr>
          <p:grpSp>
            <p:nvGrpSpPr>
              <p:cNvPr id="381" name="Group 380">
                <a:extLst>
                  <a:ext uri="{FF2B5EF4-FFF2-40B4-BE49-F238E27FC236}">
                    <a16:creationId xmlns:a16="http://schemas.microsoft.com/office/drawing/2014/main" id="{D7804A64-9EDC-4DEA-B3AA-FFD49D9B50BA}"/>
                  </a:ext>
                </a:extLst>
              </p:cNvPr>
              <p:cNvGrpSpPr/>
              <p:nvPr/>
            </p:nvGrpSpPr>
            <p:grpSpPr>
              <a:xfrm>
                <a:off x="2010957" y="4758613"/>
                <a:ext cx="486782" cy="282536"/>
                <a:chOff x="1624587" y="3554019"/>
                <a:chExt cx="539676" cy="313237"/>
              </a:xfrm>
            </p:grpSpPr>
            <p:pic>
              <p:nvPicPr>
                <p:cNvPr id="402" name="Picture 2" descr="Image result for aws logo png">
                  <a:extLst>
                    <a:ext uri="{FF2B5EF4-FFF2-40B4-BE49-F238E27FC236}">
                      <a16:creationId xmlns:a16="http://schemas.microsoft.com/office/drawing/2014/main" id="{AB754445-C406-4ED3-BBD1-38C861AA61D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580" t="65567" r="12580"/>
                <a:stretch/>
              </p:blipFill>
              <p:spPr bwMode="auto">
                <a:xfrm>
                  <a:off x="1624587" y="3727587"/>
                  <a:ext cx="539676" cy="139669"/>
                </a:xfrm>
                <a:prstGeom prst="rect">
                  <a:avLst/>
                </a:prstGeom>
                <a:noFill/>
                <a:extLst>
                  <a:ext uri="{909E8E84-426E-40DD-AFC4-6F175D3DCCD1}">
                    <a14:hiddenFill xmlns:a14="http://schemas.microsoft.com/office/drawing/2010/main">
                      <a:solidFill>
                        <a:srgbClr val="FFFFFF"/>
                      </a:solidFill>
                    </a14:hiddenFill>
                  </a:ext>
                </a:extLst>
              </p:spPr>
            </p:pic>
            <p:pic>
              <p:nvPicPr>
                <p:cNvPr id="403" name="Picture 2" descr="Image result for aws logo png">
                  <a:extLst>
                    <a:ext uri="{FF2B5EF4-FFF2-40B4-BE49-F238E27FC236}">
                      <a16:creationId xmlns:a16="http://schemas.microsoft.com/office/drawing/2014/main" id="{507824FD-81DE-4970-80DF-B954DB4D2878}"/>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12580" t="18764" r="12580" b="32417"/>
                <a:stretch/>
              </p:blipFill>
              <p:spPr bwMode="auto">
                <a:xfrm>
                  <a:off x="1624587" y="3554019"/>
                  <a:ext cx="539676" cy="198019"/>
                </a:xfrm>
                <a:prstGeom prst="rect">
                  <a:avLst/>
                </a:prstGeom>
                <a:noFill/>
                <a:extLst>
                  <a:ext uri="{909E8E84-426E-40DD-AFC4-6F175D3DCCD1}">
                    <a14:hiddenFill xmlns:a14="http://schemas.microsoft.com/office/drawing/2010/main">
                      <a:solidFill>
                        <a:srgbClr val="FFFFFF"/>
                      </a:solidFill>
                    </a14:hiddenFill>
                  </a:ext>
                </a:extLst>
              </p:spPr>
            </p:pic>
          </p:grpSp>
          <p:pic>
            <p:nvPicPr>
              <p:cNvPr id="5" name="Picture 4">
                <a:extLst>
                  <a:ext uri="{FF2B5EF4-FFF2-40B4-BE49-F238E27FC236}">
                    <a16:creationId xmlns:a16="http://schemas.microsoft.com/office/drawing/2014/main" id="{3034C90B-A06C-493E-BEBA-1E89CAC87D38}"/>
                  </a:ext>
                </a:extLst>
              </p:cNvPr>
              <p:cNvPicPr>
                <a:picLocks noChangeAspect="1"/>
              </p:cNvPicPr>
              <p:nvPr/>
            </p:nvPicPr>
            <p:blipFill>
              <a:blip r:embed="rId9"/>
              <a:stretch>
                <a:fillRect/>
              </a:stretch>
            </p:blipFill>
            <p:spPr>
              <a:xfrm>
                <a:off x="2587968" y="4772484"/>
                <a:ext cx="777391" cy="192687"/>
              </a:xfrm>
              <a:prstGeom prst="rect">
                <a:avLst/>
              </a:prstGeom>
            </p:spPr>
          </p:pic>
        </p:grpSp>
      </p:grpSp>
      <p:sp>
        <p:nvSpPr>
          <p:cNvPr id="117" name="Rectangle 116">
            <a:extLst>
              <a:ext uri="{FF2B5EF4-FFF2-40B4-BE49-F238E27FC236}">
                <a16:creationId xmlns:a16="http://schemas.microsoft.com/office/drawing/2014/main" id="{16C66B1B-6EAB-4941-A11B-82608253A452}"/>
              </a:ext>
              <a:ext uri="{C183D7F6-B498-43B3-948B-1728B52AA6E4}">
                <adec:decorative xmlns:adec="http://schemas.microsoft.com/office/drawing/2017/decorative" val="1"/>
              </a:ext>
            </a:extLst>
          </p:cNvPr>
          <p:cNvSpPr/>
          <p:nvPr/>
        </p:nvSpPr>
        <p:spPr bwMode="auto">
          <a:xfrm>
            <a:off x="4975975" y="2168115"/>
            <a:ext cx="2132123" cy="18422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96DC803-3575-4377-9607-E264CFEE614A}"/>
              </a:ext>
              <a:ext uri="{C183D7F6-B498-43B3-948B-1728B52AA6E4}">
                <adec:decorative xmlns:adec="http://schemas.microsoft.com/office/drawing/2017/decorative" val="1"/>
              </a:ext>
            </a:extLst>
          </p:cNvPr>
          <p:cNvSpPr/>
          <p:nvPr/>
        </p:nvSpPr>
        <p:spPr bwMode="auto">
          <a:xfrm>
            <a:off x="4975975" y="2260394"/>
            <a:ext cx="2132123" cy="18422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C497A4AA-A8E0-4F93-9B74-762BAB089113}"/>
              </a:ext>
              <a:ext uri="{C183D7F6-B498-43B3-948B-1728B52AA6E4}">
                <adec:decorative xmlns:adec="http://schemas.microsoft.com/office/drawing/2017/decorative" val="1"/>
              </a:ext>
            </a:extLst>
          </p:cNvPr>
          <p:cNvSpPr/>
          <p:nvPr/>
        </p:nvSpPr>
        <p:spPr bwMode="auto">
          <a:xfrm>
            <a:off x="5094314" y="2410752"/>
            <a:ext cx="2041451" cy="27008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oup 119" descr="picture of Azure cloud">
            <a:extLst>
              <a:ext uri="{FF2B5EF4-FFF2-40B4-BE49-F238E27FC236}">
                <a16:creationId xmlns:a16="http://schemas.microsoft.com/office/drawing/2014/main" id="{BDEC2F53-CCA7-4248-AC7C-EE10D8786651}"/>
              </a:ext>
            </a:extLst>
          </p:cNvPr>
          <p:cNvGrpSpPr/>
          <p:nvPr/>
        </p:nvGrpSpPr>
        <p:grpSpPr>
          <a:xfrm>
            <a:off x="5134370" y="2007452"/>
            <a:ext cx="1926574" cy="1032915"/>
            <a:chOff x="5027899" y="2007452"/>
            <a:chExt cx="1926574" cy="1032915"/>
          </a:xfrm>
        </p:grpSpPr>
        <p:sp>
          <p:nvSpPr>
            <p:cNvPr id="121" name="cloud 4" descr="cloud">
              <a:extLst>
                <a:ext uri="{FF2B5EF4-FFF2-40B4-BE49-F238E27FC236}">
                  <a16:creationId xmlns:a16="http://schemas.microsoft.com/office/drawing/2014/main" id="{B44AA96D-A340-4633-B31C-B2F92E00F86A}"/>
                </a:ext>
              </a:extLst>
            </p:cNvPr>
            <p:cNvSpPr>
              <a:spLocks noChangeAspect="1"/>
            </p:cNvSpPr>
            <p:nvPr/>
          </p:nvSpPr>
          <p:spPr bwMode="auto">
            <a:xfrm flipV="1">
              <a:off x="5027899" y="2007452"/>
              <a:ext cx="1926574" cy="103291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2" name="TextBox 121">
              <a:extLst>
                <a:ext uri="{FF2B5EF4-FFF2-40B4-BE49-F238E27FC236}">
                  <a16:creationId xmlns:a16="http://schemas.microsoft.com/office/drawing/2014/main" id="{E99AE7C4-4927-4A4F-8494-5D41244B02F1}"/>
                </a:ext>
              </a:extLst>
            </p:cNvPr>
            <p:cNvSpPr txBox="1"/>
            <p:nvPr/>
          </p:nvSpPr>
          <p:spPr>
            <a:xfrm>
              <a:off x="5639641" y="2485997"/>
              <a:ext cx="756989"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Azure</a:t>
              </a:r>
              <a:endParaRPr kumimoji="0" lang="en-US" sz="2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endParaRPr>
            </a:p>
          </p:txBody>
        </p:sp>
      </p:grpSp>
      <p:sp>
        <p:nvSpPr>
          <p:cNvPr id="174" name="Title 173">
            <a:extLst>
              <a:ext uri="{FF2B5EF4-FFF2-40B4-BE49-F238E27FC236}">
                <a16:creationId xmlns:a16="http://schemas.microsoft.com/office/drawing/2014/main" id="{02ACC014-B1DB-49F2-AA55-AA07977A94B1}"/>
              </a:ext>
            </a:extLst>
          </p:cNvPr>
          <p:cNvSpPr txBox="1">
            <a:spLocks noGrp="1"/>
          </p:cNvSpPr>
          <p:nvPr>
            <p:ph type="title" idx="4294967295"/>
          </p:nvPr>
        </p:nvSpPr>
        <p:spPr>
          <a:xfrm>
            <a:off x="4299323" y="675323"/>
            <a:ext cx="3593356" cy="738664"/>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50" normalizeH="0" baseline="0" noProof="0" dirty="0">
                <a:ln>
                  <a:noFill/>
                </a:ln>
                <a:solidFill>
                  <a:srgbClr val="50E6FF"/>
                </a:solidFill>
                <a:effectLst/>
                <a:uLnTx/>
                <a:uFillTx/>
                <a:latin typeface="Segoe UI Semibold"/>
                <a:ea typeface="+mn-ea"/>
                <a:cs typeface="+mn-cs"/>
              </a:rPr>
              <a:t>Azure Hybrid</a:t>
            </a:r>
          </a:p>
        </p:txBody>
      </p:sp>
      <p:sp>
        <p:nvSpPr>
          <p:cNvPr id="175" name="TextBox 174">
            <a:extLst>
              <a:ext uri="{FF2B5EF4-FFF2-40B4-BE49-F238E27FC236}">
                <a16:creationId xmlns:a16="http://schemas.microsoft.com/office/drawing/2014/main" id="{8EE59BD8-436B-40D5-A601-42C89673F447}"/>
              </a:ext>
            </a:extLst>
          </p:cNvPr>
          <p:cNvSpPr txBox="1"/>
          <p:nvPr/>
        </p:nvSpPr>
        <p:spPr>
          <a:xfrm>
            <a:off x="4437287" y="1401332"/>
            <a:ext cx="3250313" cy="276999"/>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nnovation anywhere with Azure</a:t>
            </a:r>
          </a:p>
        </p:txBody>
      </p:sp>
    </p:spTree>
    <p:extLst>
      <p:ext uri="{BB962C8B-B14F-4D97-AF65-F5344CB8AC3E}">
        <p14:creationId xmlns:p14="http://schemas.microsoft.com/office/powerpoint/2010/main" val="76577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399"/>
                                          </p:stCondLst>
                                        </p:cTn>
                                        <p:tgtEl>
                                          <p:spTgt spid="123"/>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400" fill="hold"/>
                                        <p:tgtEl>
                                          <p:spTgt spid="123"/>
                                        </p:tgtEl>
                                      </p:cBhvr>
                                      <p:by x="0" y="100000"/>
                                    </p:animScale>
                                  </p:childTnLst>
                                </p:cTn>
                              </p:par>
                              <p:par>
                                <p:cTn id="9" presetID="10" presetClass="entr" presetSubtype="0" fill="hold" grpId="0" nodeType="withEffect">
                                  <p:stCondLst>
                                    <p:cond delay="300"/>
                                  </p:stCondLst>
                                  <p:childTnLst>
                                    <p:set>
                                      <p:cBhvr>
                                        <p:cTn id="10" dur="1" fill="hold">
                                          <p:stCondLst>
                                            <p:cond delay="0"/>
                                          </p:stCondLst>
                                        </p:cTn>
                                        <p:tgtEl>
                                          <p:spTgt spid="173"/>
                                        </p:tgtEl>
                                        <p:attrNameLst>
                                          <p:attrName>style.visibility</p:attrName>
                                        </p:attrNameLst>
                                      </p:cBhvr>
                                      <p:to>
                                        <p:strVal val="visible"/>
                                      </p:to>
                                    </p:set>
                                    <p:animEffect transition="in" filter="fade">
                                      <p:cBhvr>
                                        <p:cTn id="11" dur="500"/>
                                        <p:tgtEl>
                                          <p:spTgt spid="173"/>
                                        </p:tgtEl>
                                      </p:cBhvr>
                                    </p:animEffect>
                                  </p:childTnLst>
                                </p:cTn>
                              </p:par>
                              <p:par>
                                <p:cTn id="12" presetID="10" presetClass="entr" presetSubtype="0" fill="hold" nodeType="withEffect">
                                  <p:stCondLst>
                                    <p:cond delay="2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42" presetClass="path" presetSubtype="0" decel="100000" fill="hold" nodeType="withEffect">
                                  <p:stCondLst>
                                    <p:cond delay="200"/>
                                  </p:stCondLst>
                                  <p:childTnLst>
                                    <p:animMotion origin="layout" path="M 0 4.44444E-6 L 0 0.01898 " pathEditMode="relative" rAng="0" ptsTypes="AA">
                                      <p:cBhvr>
                                        <p:cTn id="16" dur="700" spd="-100000" fill="hold"/>
                                        <p:tgtEl>
                                          <p:spTgt spid="6"/>
                                        </p:tgtEl>
                                        <p:attrNameLst>
                                          <p:attrName>ppt_x</p:attrName>
                                          <p:attrName>ppt_y</p:attrName>
                                        </p:attrNameLst>
                                      </p:cBhvr>
                                      <p:rCtr x="0" y="949"/>
                                    </p:animMotion>
                                  </p:childTnLst>
                                </p:cTn>
                              </p:par>
                              <p:par>
                                <p:cTn id="17" presetID="10" presetClass="entr" presetSubtype="0" fill="hold" nodeType="withEffect">
                                  <p:stCondLst>
                                    <p:cond delay="0"/>
                                  </p:stCondLst>
                                  <p:childTnLst>
                                    <p:set>
                                      <p:cBhvr>
                                        <p:cTn id="18" dur="1" fill="hold">
                                          <p:stCondLst>
                                            <p:cond delay="0"/>
                                          </p:stCondLst>
                                        </p:cTn>
                                        <p:tgtEl>
                                          <p:spTgt spid="120"/>
                                        </p:tgtEl>
                                        <p:attrNameLst>
                                          <p:attrName>style.visibility</p:attrName>
                                        </p:attrNameLst>
                                      </p:cBhvr>
                                      <p:to>
                                        <p:strVal val="visible"/>
                                      </p:to>
                                    </p:set>
                                    <p:animEffect transition="in" filter="fade">
                                      <p:cBhvr>
                                        <p:cTn id="19" dur="500"/>
                                        <p:tgtEl>
                                          <p:spTgt spid="120"/>
                                        </p:tgtEl>
                                      </p:cBhvr>
                                    </p:animEffect>
                                  </p:childTnLst>
                                </p:cTn>
                              </p:par>
                              <p:par>
                                <p:cTn id="20" presetID="42" presetClass="path" presetSubtype="0" decel="100000" fill="hold" nodeType="withEffect">
                                  <p:stCondLst>
                                    <p:cond delay="0"/>
                                  </p:stCondLst>
                                  <p:childTnLst>
                                    <p:animMotion origin="layout" path="M 0 4.44444E-6 L 0 0.01898 " pathEditMode="relative" rAng="0" ptsTypes="AA">
                                      <p:cBhvr>
                                        <p:cTn id="21" dur="700" spd="-100000" fill="hold"/>
                                        <p:tgtEl>
                                          <p:spTgt spid="120"/>
                                        </p:tgtEl>
                                        <p:attrNameLst>
                                          <p:attrName>ppt_x</p:attrName>
                                          <p:attrName>ppt_y</p:attrName>
                                        </p:attrNameLst>
                                      </p:cBhvr>
                                      <p:rCtr x="0" y="949"/>
                                    </p:animMotion>
                                  </p:childTnLst>
                                </p:cTn>
                              </p:par>
                              <p:par>
                                <p:cTn id="22" presetID="10" presetClass="entr" presetSubtype="0" fill="hold" grpId="0" nodeType="withEffect">
                                  <p:stCondLst>
                                    <p:cond delay="0"/>
                                  </p:stCondLst>
                                  <p:childTnLst>
                                    <p:set>
                                      <p:cBhvr>
                                        <p:cTn id="23" dur="1" fill="hold">
                                          <p:stCondLst>
                                            <p:cond delay="0"/>
                                          </p:stCondLst>
                                        </p:cTn>
                                        <p:tgtEl>
                                          <p:spTgt spid="174"/>
                                        </p:tgtEl>
                                        <p:attrNameLst>
                                          <p:attrName>style.visibility</p:attrName>
                                        </p:attrNameLst>
                                      </p:cBhvr>
                                      <p:to>
                                        <p:strVal val="visible"/>
                                      </p:to>
                                    </p:set>
                                    <p:animEffect transition="in" filter="fade">
                                      <p:cBhvr>
                                        <p:cTn id="24" dur="500"/>
                                        <p:tgtEl>
                                          <p:spTgt spid="174"/>
                                        </p:tgtEl>
                                      </p:cBhvr>
                                    </p:animEffect>
                                  </p:childTnLst>
                                </p:cTn>
                              </p:par>
                              <p:par>
                                <p:cTn id="25" presetID="42" presetClass="path" presetSubtype="0" decel="100000" fill="hold" grpId="1" nodeType="withEffect">
                                  <p:stCondLst>
                                    <p:cond delay="0"/>
                                  </p:stCondLst>
                                  <p:childTnLst>
                                    <p:animMotion origin="layout" path="M 0 4.44444E-6 L 0 0.01898 " pathEditMode="relative" rAng="0" ptsTypes="AA">
                                      <p:cBhvr>
                                        <p:cTn id="26" dur="700" spd="-100000" fill="hold"/>
                                        <p:tgtEl>
                                          <p:spTgt spid="174"/>
                                        </p:tgtEl>
                                        <p:attrNameLst>
                                          <p:attrName>ppt_x</p:attrName>
                                          <p:attrName>ppt_y</p:attrName>
                                        </p:attrNameLst>
                                      </p:cBhvr>
                                      <p:rCtr x="0" y="949"/>
                                    </p:animMotion>
                                  </p:childTnLst>
                                </p:cTn>
                              </p:par>
                              <p:par>
                                <p:cTn id="27" presetID="10" presetClass="entr" presetSubtype="0" fill="hold" grpId="0" nodeType="withEffect">
                                  <p:stCondLst>
                                    <p:cond delay="0"/>
                                  </p:stCondLst>
                                  <p:childTnLst>
                                    <p:set>
                                      <p:cBhvr>
                                        <p:cTn id="28" dur="1" fill="hold">
                                          <p:stCondLst>
                                            <p:cond delay="0"/>
                                          </p:stCondLst>
                                        </p:cTn>
                                        <p:tgtEl>
                                          <p:spTgt spid="175"/>
                                        </p:tgtEl>
                                        <p:attrNameLst>
                                          <p:attrName>style.visibility</p:attrName>
                                        </p:attrNameLst>
                                      </p:cBhvr>
                                      <p:to>
                                        <p:strVal val="visible"/>
                                      </p:to>
                                    </p:set>
                                    <p:animEffect transition="in" filter="fade">
                                      <p:cBhvr>
                                        <p:cTn id="29" dur="500"/>
                                        <p:tgtEl>
                                          <p:spTgt spid="175"/>
                                        </p:tgtEl>
                                      </p:cBhvr>
                                    </p:animEffect>
                                  </p:childTnLst>
                                </p:cTn>
                              </p:par>
                              <p:par>
                                <p:cTn id="30" presetID="42" presetClass="path" presetSubtype="0" decel="100000" fill="hold" grpId="1" nodeType="withEffect">
                                  <p:stCondLst>
                                    <p:cond delay="0"/>
                                  </p:stCondLst>
                                  <p:childTnLst>
                                    <p:animMotion origin="layout" path="M 0 4.44444E-6 L 0 0.01898 " pathEditMode="relative" rAng="0" ptsTypes="AA">
                                      <p:cBhvr>
                                        <p:cTn id="31" dur="700" spd="-100000" fill="hold"/>
                                        <p:tgtEl>
                                          <p:spTgt spid="17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3" grpId="0" animBg="1"/>
      <p:bldP spid="174" grpId="0"/>
      <p:bldP spid="174" grpId="1"/>
      <p:bldP spid="175" grpId="0"/>
      <p:bldP spid="175" grpId="1"/>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heme/theme1.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3.xml><?xml version="1.0" encoding="utf-8"?>
<a:theme xmlns:a="http://schemas.openxmlformats.org/drawingml/2006/main" name="2_WHIT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 id="{BEC7B18E-1F6E-4784-A28A-0112388FCABA}" vid="{0F84BE42-0756-4373-9F14-0BEB63C558DF}"/>
    </a:ext>
  </a:extLst>
</a:theme>
</file>

<file path=ppt/theme/theme4.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5.xml><?xml version="1.0" encoding="utf-8"?>
<a:theme xmlns:a="http://schemas.openxmlformats.org/drawingml/2006/main" name="2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67D0148C-3AD0-4F42-9954-CB1B5AC05762}"/>
    </a:ext>
  </a:extLst>
</a:theme>
</file>

<file path=ppt/theme/theme7.xml><?xml version="1.0" encoding="utf-8"?>
<a:theme xmlns:a="http://schemas.openxmlformats.org/drawingml/2006/main" name="Hybrid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Corenote_16x9_Template.potx" id="{C11BA8AE-4A84-4CA5-BCFD-9065DCA975FF}" vid="{56D7BF5F-8680-458C-85DD-7D655AF03E99}"/>
    </a:ext>
  </a:extLst>
</a:theme>
</file>

<file path=ppt/theme/theme8.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9.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Presentation1" id="{0B617442-599A-4C6C-B35C-26293ED822F2}" vid="{58304586-7728-440F-93B2-F859EC8AEF7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019C9D67E274245B12BF79C55BE778C" ma:contentTypeVersion="19" ma:contentTypeDescription="Create a new document." ma:contentTypeScope="" ma:versionID="e55066021b44ebf64e8b7c1a7dc63201">
  <xsd:schema xmlns:xsd="http://www.w3.org/2001/XMLSchema" xmlns:xs="http://www.w3.org/2001/XMLSchema" xmlns:p="http://schemas.microsoft.com/office/2006/metadata/properties" xmlns:ns1="http://schemas.microsoft.com/sharepoint/v3" xmlns:ns2="3a6239b1-84a2-436e-b281-9f1510ef4358" xmlns:ns3="ef4e99f7-fe95-4544-b30a-d4a0962d5b53" xmlns:ns4="230e9df3-be65-4c73-a93b-d1236ebd677e" targetNamespace="http://schemas.microsoft.com/office/2006/metadata/properties" ma:root="true" ma:fieldsID="d6707e71c8e891a33427050e44d80c57" ns1:_="" ns2:_="" ns3:_="" ns4:_="">
    <xsd:import namespace="http://schemas.microsoft.com/sharepoint/v3"/>
    <xsd:import namespace="3a6239b1-84a2-436e-b281-9f1510ef4358"/>
    <xsd:import namespace="ef4e99f7-fe95-4544-b30a-d4a0962d5b5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Transcript"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a6239b1-84a2-436e-b281-9f1510ef43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Transcript" ma:index="20" nillable="true" ma:displayName="MediaServiceTranscript" ma:hidden="true" ma:internalName="MediaServiceTranscript" ma:readOnly="false">
      <xsd:simpleType>
        <xsd:restriction base="dms:Note"/>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f4e99f7-fe95-4544-b30a-d4a0962d5b5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34d1839f-5c86-4098-aa58-c39b0f908e3d}" ma:internalName="TaxCatchAll" ma:showField="CatchAllData" ma:web="ef4e99f7-fe95-4544-b30a-d4a0962d5b5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MediaServiceTranscript xmlns="3a6239b1-84a2-436e-b281-9f1510ef4358" xsi:nil="true"/>
    <_ip_UnifiedCompliancePolicyProperties xmlns="http://schemas.microsoft.com/sharepoint/v3" xsi:nil="true"/>
    <lcf76f155ced4ddcb4097134ff3c332f xmlns="3a6239b1-84a2-436e-b281-9f1510ef4358">
      <Terms xmlns="http://schemas.microsoft.com/office/infopath/2007/PartnerControls"/>
    </lcf76f155ced4ddcb4097134ff3c332f>
    <TaxCatchAll xmlns="230e9df3-be65-4c73-a93b-d1236ebd677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1EF89B-5F16-4A47-B472-12AFD14A6E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a6239b1-84a2-436e-b281-9f1510ef4358"/>
    <ds:schemaRef ds:uri="ef4e99f7-fe95-4544-b30a-d4a0962d5b53"/>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3CD8339-1329-457B-B455-DD2A4782E1A7}">
  <ds:schemaRefs>
    <ds:schemaRef ds:uri="http://purl.org/dc/elements/1.1/"/>
    <ds:schemaRef ds:uri="http://schemas.microsoft.com/office/infopath/2007/PartnerControls"/>
    <ds:schemaRef ds:uri="http://schemas.microsoft.com/office/2006/metadata/properties"/>
    <ds:schemaRef ds:uri="http://schemas.microsoft.com/office/2006/documentManagement/types"/>
    <ds:schemaRef ds:uri="http://www.w3.org/XML/1998/namespace"/>
    <ds:schemaRef ds:uri="http://purl.org/dc/terms/"/>
    <ds:schemaRef ds:uri="ef4e99f7-fe95-4544-b30a-d4a0962d5b53"/>
    <ds:schemaRef ds:uri="http://schemas.microsoft.com/sharepoint/v3"/>
    <ds:schemaRef ds:uri="3a6239b1-84a2-436e-b281-9f1510ef4358"/>
    <ds:schemaRef ds:uri="http://schemas.openxmlformats.org/package/2006/metadata/core-properties"/>
    <ds:schemaRef ds:uri="230e9df3-be65-4c73-a93b-d1236ebd677e"/>
    <ds:schemaRef ds:uri="http://purl.org/dc/dcmitype/"/>
  </ds:schemaRefs>
</ds:datastoreItem>
</file>

<file path=customXml/itemProps3.xml><?xml version="1.0" encoding="utf-8"?>
<ds:datastoreItem xmlns:ds="http://schemas.openxmlformats.org/officeDocument/2006/customXml" ds:itemID="{6FCC8617-511E-4269-BF48-B83F180BEFE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2</TotalTime>
  <Words>2572</Words>
  <Application>Microsoft Office PowerPoint</Application>
  <PresentationFormat>Widescreen</PresentationFormat>
  <Paragraphs>413</Paragraphs>
  <Slides>15</Slides>
  <Notes>13</Notes>
  <HiddenSlides>0</HiddenSlides>
  <MMClips>0</MMClips>
  <ScaleCrop>false</ScaleCrop>
  <HeadingPairs>
    <vt:vector size="4" baseType="variant">
      <vt:variant>
        <vt:lpstr>Theme</vt:lpstr>
      </vt:variant>
      <vt:variant>
        <vt:i4>10</vt:i4>
      </vt:variant>
      <vt:variant>
        <vt:lpstr>Slide Titles</vt:lpstr>
      </vt:variant>
      <vt:variant>
        <vt:i4>15</vt:i4>
      </vt:variant>
    </vt:vector>
  </HeadingPairs>
  <TitlesOfParts>
    <vt:vector size="25" baseType="lpstr">
      <vt:lpstr>9-51052_Microsoft_Ready_Template_Light</vt:lpstr>
      <vt:lpstr>1_WHITE TEMPLATE</vt:lpstr>
      <vt:lpstr>2_WHITE TEMPLATE</vt:lpstr>
      <vt:lpstr>9-51052_Microsoft_Ready_Template_Light</vt:lpstr>
      <vt:lpstr>2_Azure Design Template</vt:lpstr>
      <vt:lpstr>4_9-51052_Microsoft_Inspire_Template_Dark</vt:lpstr>
      <vt:lpstr>Hybrid_Template_Dark</vt:lpstr>
      <vt:lpstr>***Black Template</vt:lpstr>
      <vt:lpstr>6-51096_Microsoft_Inspire_Black_Template</vt:lpstr>
      <vt:lpstr>Office Theme</vt:lpstr>
      <vt:lpstr>Microsoft Azure Immersion Workshop: Infrastructure Migration</vt:lpstr>
      <vt:lpstr>What should you think about when migrating to Azure Infrastructure?</vt:lpstr>
      <vt:lpstr>No migration is ever linear or simple  Drawn from 100s of engagements by FastTrack for Azure </vt:lpstr>
      <vt:lpstr>Streamline your migration journey with Microsoft And our verified Azure Migration Partners</vt:lpstr>
      <vt:lpstr>What are the top three most important things to remember?</vt:lpstr>
      <vt:lpstr>1. Think about the holistic Azure Core IaaS Stack across Linux and Windows and Hybrid deployment consideration</vt:lpstr>
      <vt:lpstr>Best-in-class infrastructure for every workload</vt:lpstr>
      <vt:lpstr>Linux and open source databases offerings on Azure</vt:lpstr>
      <vt:lpstr>Azure Hybrid</vt:lpstr>
      <vt:lpstr>2.  Use Azure Migrate as the tool </vt:lpstr>
      <vt:lpstr>Perform your migration with Azure Migrate</vt:lpstr>
      <vt:lpstr>3.  Benefit from the Azure Migration Program</vt:lpstr>
      <vt:lpstr>Azure Migration Program (AMP)</vt:lpstr>
      <vt:lpstr>Start with a Solution Assessment…</vt:lpstr>
      <vt:lpstr>Thank you for joining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
  <cp:lastModifiedBy>Julie Descamp (CLEARWATER GROUP LLC)</cp:lastModifiedBy>
  <cp:revision>2</cp:revision>
  <dcterms:created xsi:type="dcterms:W3CDTF">2020-05-05T14:09:01Z</dcterms:created>
  <dcterms:modified xsi:type="dcterms:W3CDTF">2021-11-23T18:4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19C9D67E274245B12BF79C55BE778C</vt:lpwstr>
  </property>
  <property fmtid="{D5CDD505-2E9C-101B-9397-08002B2CF9AE}" pid="3" name="MediaServiceImageTags">
    <vt:lpwstr/>
  </property>
</Properties>
</file>